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ata5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colors4.xml" ContentType="application/vnd.openxmlformats-officedocument.drawingml.diagramColor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quickStyle6.xml" ContentType="application/vnd.openxmlformats-officedocument.drawingml.diagramStyle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diagrams/colors2.xml" ContentType="application/vnd.openxmlformats-officedocument.drawingml.diagramColors+xml"/>
  <Override PartName="/ppt/tags/tag7.xml" ContentType="application/vnd.openxmlformats-officedocument.presentationml.tag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diagrams/layout4.xml" ContentType="application/vnd.openxmlformats-officedocument.drawingml.diagram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78" r:id="rId2"/>
    <p:sldId id="257" r:id="rId3"/>
    <p:sldId id="265" r:id="rId4"/>
    <p:sldId id="256" r:id="rId5"/>
    <p:sldId id="262" r:id="rId6"/>
    <p:sldId id="277" r:id="rId7"/>
    <p:sldId id="264" r:id="rId8"/>
    <p:sldId id="270" r:id="rId9"/>
    <p:sldId id="267" r:id="rId10"/>
    <p:sldId id="279" r:id="rId1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5F01"/>
    <a:srgbClr val="0099FF"/>
  </p:clrMru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>
        <p:scale>
          <a:sx n="70" d="100"/>
          <a:sy n="70" d="100"/>
        </p:scale>
        <p:origin x="-1080" y="-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image" Target="../media/image13.jpeg"/><Relationship Id="rId4" Type="http://schemas.openxmlformats.org/officeDocument/2006/relationships/image" Target="../media/image16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11F394-437D-4458-BD23-952AFE625ED5}" type="doc">
      <dgm:prSet loTypeId="urn:microsoft.com/office/officeart/2005/8/layout/process5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id-ID"/>
        </a:p>
      </dgm:t>
    </dgm:pt>
    <dgm:pt modelId="{C3DB3EFD-5BF7-4DE7-B0ED-A7E0DD8AFC53}">
      <dgm:prSet phldrT="[Text]"/>
      <dgm:spPr/>
      <dgm:t>
        <a:bodyPr/>
        <a:lstStyle/>
        <a:p>
          <a:r>
            <a:rPr lang="id-ID" dirty="0" smtClean="0"/>
            <a:t>Melakukan pengecekan dokumen ( surat jalan dan Packking sheet</a:t>
          </a:r>
          <a:endParaRPr lang="id-ID" dirty="0"/>
        </a:p>
      </dgm:t>
    </dgm:pt>
    <dgm:pt modelId="{486C2043-2690-445E-97AD-3C0006019123}" type="parTrans" cxnId="{F1F0496C-0F02-464A-8D9B-64E6DEDB631D}">
      <dgm:prSet/>
      <dgm:spPr/>
      <dgm:t>
        <a:bodyPr/>
        <a:lstStyle/>
        <a:p>
          <a:endParaRPr lang="id-ID"/>
        </a:p>
      </dgm:t>
    </dgm:pt>
    <dgm:pt modelId="{90DEA1FC-506A-4067-9B4D-DC2E978B8455}" type="sibTrans" cxnId="{F1F0496C-0F02-464A-8D9B-64E6DEDB631D}">
      <dgm:prSet/>
      <dgm:spPr/>
      <dgm:t>
        <a:bodyPr/>
        <a:lstStyle/>
        <a:p>
          <a:endParaRPr lang="id-ID"/>
        </a:p>
      </dgm:t>
    </dgm:pt>
    <dgm:pt modelId="{6F529150-86FA-48B6-B732-F1D833ABD021}">
      <dgm:prSet phldrT="[Text]"/>
      <dgm:spPr/>
      <dgm:t>
        <a:bodyPr/>
        <a:lstStyle/>
        <a:p>
          <a:r>
            <a:rPr lang="id-ID" dirty="0" smtClean="0"/>
            <a:t>Poses Unloading Spare Part  ke Area  Receiving</a:t>
          </a:r>
          <a:endParaRPr lang="id-ID" dirty="0"/>
        </a:p>
      </dgm:t>
    </dgm:pt>
    <dgm:pt modelId="{F69FE330-A267-4A13-85D9-947837371FDC}" type="parTrans" cxnId="{AB70B44E-CA3D-4B99-B50E-6B00519A33D0}">
      <dgm:prSet/>
      <dgm:spPr/>
      <dgm:t>
        <a:bodyPr/>
        <a:lstStyle/>
        <a:p>
          <a:endParaRPr lang="id-ID"/>
        </a:p>
      </dgm:t>
    </dgm:pt>
    <dgm:pt modelId="{AA2DCDAD-05C7-429F-9BE9-390F10325596}" type="sibTrans" cxnId="{AB70B44E-CA3D-4B99-B50E-6B00519A33D0}">
      <dgm:prSet/>
      <dgm:spPr/>
      <dgm:t>
        <a:bodyPr/>
        <a:lstStyle/>
        <a:p>
          <a:endParaRPr lang="id-ID"/>
        </a:p>
      </dgm:t>
    </dgm:pt>
    <dgm:pt modelId="{DA08479D-AC90-4705-B999-2D51F2FA582E}">
      <dgm:prSet phldrT="[Text]"/>
      <dgm:spPr/>
      <dgm:t>
        <a:bodyPr/>
        <a:lstStyle/>
        <a:p>
          <a:r>
            <a:rPr lang="id-ID" dirty="0" smtClean="0"/>
            <a:t>Hitung  jumlah barang yang diterima sesuai dengan dokumen</a:t>
          </a:r>
          <a:endParaRPr lang="id-ID" dirty="0"/>
        </a:p>
      </dgm:t>
    </dgm:pt>
    <dgm:pt modelId="{C3915F72-06F8-4F8B-B151-65B4CD6C49B5}" type="parTrans" cxnId="{1DF38139-2A08-408F-89CD-00DB369A31F4}">
      <dgm:prSet/>
      <dgm:spPr/>
      <dgm:t>
        <a:bodyPr/>
        <a:lstStyle/>
        <a:p>
          <a:endParaRPr lang="id-ID"/>
        </a:p>
      </dgm:t>
    </dgm:pt>
    <dgm:pt modelId="{55DF518C-3E26-48FE-BE4E-C6CA4F66C7A5}" type="sibTrans" cxnId="{1DF38139-2A08-408F-89CD-00DB369A31F4}">
      <dgm:prSet/>
      <dgm:spPr/>
      <dgm:t>
        <a:bodyPr/>
        <a:lstStyle/>
        <a:p>
          <a:endParaRPr lang="id-ID"/>
        </a:p>
      </dgm:t>
    </dgm:pt>
    <dgm:pt modelId="{E83E4CB2-1742-4D17-B0B0-159D029AD7BE}">
      <dgm:prSet phldrT="[Text]"/>
      <dgm:spPr/>
      <dgm:t>
        <a:bodyPr/>
        <a:lstStyle/>
        <a:p>
          <a:r>
            <a:rPr lang="id-ID" dirty="0" smtClean="0"/>
            <a:t>Tanda tangan dan stempel pada surat jalan (jika sudah sesuai antara  fisik dan surat jalan)</a:t>
          </a:r>
          <a:endParaRPr lang="id-ID" dirty="0"/>
        </a:p>
      </dgm:t>
    </dgm:pt>
    <dgm:pt modelId="{3B43B9AD-1B88-4791-8385-B57821BBAF88}" type="parTrans" cxnId="{AA747650-5560-424D-8445-6D116E30C2CC}">
      <dgm:prSet/>
      <dgm:spPr/>
      <dgm:t>
        <a:bodyPr/>
        <a:lstStyle/>
        <a:p>
          <a:endParaRPr lang="id-ID"/>
        </a:p>
      </dgm:t>
    </dgm:pt>
    <dgm:pt modelId="{5BC0A12C-A1CE-4CB2-89CA-DB03C3679A47}" type="sibTrans" cxnId="{AA747650-5560-424D-8445-6D116E30C2CC}">
      <dgm:prSet/>
      <dgm:spPr/>
      <dgm:t>
        <a:bodyPr/>
        <a:lstStyle/>
        <a:p>
          <a:endParaRPr lang="id-ID"/>
        </a:p>
      </dgm:t>
    </dgm:pt>
    <dgm:pt modelId="{F5EE9B1D-CB0B-4262-85B3-FF0C75F882D7}" type="pres">
      <dgm:prSet presAssocID="{9C11F394-437D-4458-BD23-952AFE625ED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d-ID"/>
        </a:p>
      </dgm:t>
    </dgm:pt>
    <dgm:pt modelId="{11D187E9-AB8D-4EEC-B547-C8704F3DB044}" type="pres">
      <dgm:prSet presAssocID="{C3DB3EFD-5BF7-4DE7-B0ED-A7E0DD8AFC53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01C0CE2C-9BA2-4246-B216-AF5BAC870688}" type="pres">
      <dgm:prSet presAssocID="{90DEA1FC-506A-4067-9B4D-DC2E978B8455}" presName="sibTrans" presStyleLbl="sibTrans2D1" presStyleIdx="0" presStyleCnt="3"/>
      <dgm:spPr/>
      <dgm:t>
        <a:bodyPr/>
        <a:lstStyle/>
        <a:p>
          <a:endParaRPr lang="id-ID"/>
        </a:p>
      </dgm:t>
    </dgm:pt>
    <dgm:pt modelId="{8188915A-897C-43BE-95C1-A4B7344CA0F8}" type="pres">
      <dgm:prSet presAssocID="{90DEA1FC-506A-4067-9B4D-DC2E978B8455}" presName="connectorText" presStyleLbl="sibTrans2D1" presStyleIdx="0" presStyleCnt="3"/>
      <dgm:spPr/>
      <dgm:t>
        <a:bodyPr/>
        <a:lstStyle/>
        <a:p>
          <a:endParaRPr lang="id-ID"/>
        </a:p>
      </dgm:t>
    </dgm:pt>
    <dgm:pt modelId="{1B490EA4-446E-42F3-BA7B-C7EB44AEEC36}" type="pres">
      <dgm:prSet presAssocID="{6F529150-86FA-48B6-B732-F1D833ABD021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E11C1738-0B6A-4012-95C4-ACE1AE9E0AE0}" type="pres">
      <dgm:prSet presAssocID="{AA2DCDAD-05C7-429F-9BE9-390F10325596}" presName="sibTrans" presStyleLbl="sibTrans2D1" presStyleIdx="1" presStyleCnt="3"/>
      <dgm:spPr/>
      <dgm:t>
        <a:bodyPr/>
        <a:lstStyle/>
        <a:p>
          <a:endParaRPr lang="id-ID"/>
        </a:p>
      </dgm:t>
    </dgm:pt>
    <dgm:pt modelId="{9D4C6E26-0B68-409C-A328-BA2BE65B1FF2}" type="pres">
      <dgm:prSet presAssocID="{AA2DCDAD-05C7-429F-9BE9-390F10325596}" presName="connectorText" presStyleLbl="sibTrans2D1" presStyleIdx="1" presStyleCnt="3"/>
      <dgm:spPr/>
      <dgm:t>
        <a:bodyPr/>
        <a:lstStyle/>
        <a:p>
          <a:endParaRPr lang="id-ID"/>
        </a:p>
      </dgm:t>
    </dgm:pt>
    <dgm:pt modelId="{552619AA-40D8-4BE8-B531-225AC011C499}" type="pres">
      <dgm:prSet presAssocID="{DA08479D-AC90-4705-B999-2D51F2FA582E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5561BA8E-C047-4B5B-9665-E0415656C379}" type="pres">
      <dgm:prSet presAssocID="{55DF518C-3E26-48FE-BE4E-C6CA4F66C7A5}" presName="sibTrans" presStyleLbl="sibTrans2D1" presStyleIdx="2" presStyleCnt="3"/>
      <dgm:spPr/>
      <dgm:t>
        <a:bodyPr/>
        <a:lstStyle/>
        <a:p>
          <a:endParaRPr lang="id-ID"/>
        </a:p>
      </dgm:t>
    </dgm:pt>
    <dgm:pt modelId="{F1CFD39C-4C5C-46FD-9C9E-F5BA9549D14A}" type="pres">
      <dgm:prSet presAssocID="{55DF518C-3E26-48FE-BE4E-C6CA4F66C7A5}" presName="connectorText" presStyleLbl="sibTrans2D1" presStyleIdx="2" presStyleCnt="3"/>
      <dgm:spPr/>
      <dgm:t>
        <a:bodyPr/>
        <a:lstStyle/>
        <a:p>
          <a:endParaRPr lang="id-ID"/>
        </a:p>
      </dgm:t>
    </dgm:pt>
    <dgm:pt modelId="{EA3BC127-3E37-49F9-9BE9-19B4C960B43E}" type="pres">
      <dgm:prSet presAssocID="{E83E4CB2-1742-4D17-B0B0-159D029AD7BE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</dgm:ptLst>
  <dgm:cxnLst>
    <dgm:cxn modelId="{46FCB0EC-0374-42D4-9CC8-48EE871A230F}" type="presOf" srcId="{AA2DCDAD-05C7-429F-9BE9-390F10325596}" destId="{9D4C6E26-0B68-409C-A328-BA2BE65B1FF2}" srcOrd="1" destOrd="0" presId="urn:microsoft.com/office/officeart/2005/8/layout/process5"/>
    <dgm:cxn modelId="{BC6D8AF5-9636-448B-B350-39B7151D75F0}" type="presOf" srcId="{E83E4CB2-1742-4D17-B0B0-159D029AD7BE}" destId="{EA3BC127-3E37-49F9-9BE9-19B4C960B43E}" srcOrd="0" destOrd="0" presId="urn:microsoft.com/office/officeart/2005/8/layout/process5"/>
    <dgm:cxn modelId="{F1F0496C-0F02-464A-8D9B-64E6DEDB631D}" srcId="{9C11F394-437D-4458-BD23-952AFE625ED5}" destId="{C3DB3EFD-5BF7-4DE7-B0ED-A7E0DD8AFC53}" srcOrd="0" destOrd="0" parTransId="{486C2043-2690-445E-97AD-3C0006019123}" sibTransId="{90DEA1FC-506A-4067-9B4D-DC2E978B8455}"/>
    <dgm:cxn modelId="{16EE3A80-BCF2-405B-8A74-AD9D7C70225E}" type="presOf" srcId="{90DEA1FC-506A-4067-9B4D-DC2E978B8455}" destId="{01C0CE2C-9BA2-4246-B216-AF5BAC870688}" srcOrd="0" destOrd="0" presId="urn:microsoft.com/office/officeart/2005/8/layout/process5"/>
    <dgm:cxn modelId="{9254888F-3C3B-4C6E-BF9C-F6F3CBCAAAB1}" type="presOf" srcId="{9C11F394-437D-4458-BD23-952AFE625ED5}" destId="{F5EE9B1D-CB0B-4262-85B3-FF0C75F882D7}" srcOrd="0" destOrd="0" presId="urn:microsoft.com/office/officeart/2005/8/layout/process5"/>
    <dgm:cxn modelId="{258B4FD2-1ED1-4326-834D-BA980A41BD3B}" type="presOf" srcId="{55DF518C-3E26-48FE-BE4E-C6CA4F66C7A5}" destId="{5561BA8E-C047-4B5B-9665-E0415656C379}" srcOrd="0" destOrd="0" presId="urn:microsoft.com/office/officeart/2005/8/layout/process5"/>
    <dgm:cxn modelId="{CD9CB209-9578-4FF0-9B7D-3B4D4EA00C44}" type="presOf" srcId="{DA08479D-AC90-4705-B999-2D51F2FA582E}" destId="{552619AA-40D8-4BE8-B531-225AC011C499}" srcOrd="0" destOrd="0" presId="urn:microsoft.com/office/officeart/2005/8/layout/process5"/>
    <dgm:cxn modelId="{35699792-BA51-496E-AEE0-1AD7FDB055BC}" type="presOf" srcId="{6F529150-86FA-48B6-B732-F1D833ABD021}" destId="{1B490EA4-446E-42F3-BA7B-C7EB44AEEC36}" srcOrd="0" destOrd="0" presId="urn:microsoft.com/office/officeart/2005/8/layout/process5"/>
    <dgm:cxn modelId="{1DF38139-2A08-408F-89CD-00DB369A31F4}" srcId="{9C11F394-437D-4458-BD23-952AFE625ED5}" destId="{DA08479D-AC90-4705-B999-2D51F2FA582E}" srcOrd="2" destOrd="0" parTransId="{C3915F72-06F8-4F8B-B151-65B4CD6C49B5}" sibTransId="{55DF518C-3E26-48FE-BE4E-C6CA4F66C7A5}"/>
    <dgm:cxn modelId="{AB70B44E-CA3D-4B99-B50E-6B00519A33D0}" srcId="{9C11F394-437D-4458-BD23-952AFE625ED5}" destId="{6F529150-86FA-48B6-B732-F1D833ABD021}" srcOrd="1" destOrd="0" parTransId="{F69FE330-A267-4A13-85D9-947837371FDC}" sibTransId="{AA2DCDAD-05C7-429F-9BE9-390F10325596}"/>
    <dgm:cxn modelId="{710761AD-8E3E-40D8-8919-85C881D31F9F}" type="presOf" srcId="{AA2DCDAD-05C7-429F-9BE9-390F10325596}" destId="{E11C1738-0B6A-4012-95C4-ACE1AE9E0AE0}" srcOrd="0" destOrd="0" presId="urn:microsoft.com/office/officeart/2005/8/layout/process5"/>
    <dgm:cxn modelId="{756F8007-A356-4673-ABD0-30B304483947}" type="presOf" srcId="{55DF518C-3E26-48FE-BE4E-C6CA4F66C7A5}" destId="{F1CFD39C-4C5C-46FD-9C9E-F5BA9549D14A}" srcOrd="1" destOrd="0" presId="urn:microsoft.com/office/officeart/2005/8/layout/process5"/>
    <dgm:cxn modelId="{3E310C06-4506-4E03-989E-D4C9BA0BFBB1}" type="presOf" srcId="{C3DB3EFD-5BF7-4DE7-B0ED-A7E0DD8AFC53}" destId="{11D187E9-AB8D-4EEC-B547-C8704F3DB044}" srcOrd="0" destOrd="0" presId="urn:microsoft.com/office/officeart/2005/8/layout/process5"/>
    <dgm:cxn modelId="{AA747650-5560-424D-8445-6D116E30C2CC}" srcId="{9C11F394-437D-4458-BD23-952AFE625ED5}" destId="{E83E4CB2-1742-4D17-B0B0-159D029AD7BE}" srcOrd="3" destOrd="0" parTransId="{3B43B9AD-1B88-4791-8385-B57821BBAF88}" sibTransId="{5BC0A12C-A1CE-4CB2-89CA-DB03C3679A47}"/>
    <dgm:cxn modelId="{79D37616-6B43-465A-A004-616283CB90A1}" type="presOf" srcId="{90DEA1FC-506A-4067-9B4D-DC2E978B8455}" destId="{8188915A-897C-43BE-95C1-A4B7344CA0F8}" srcOrd="1" destOrd="0" presId="urn:microsoft.com/office/officeart/2005/8/layout/process5"/>
    <dgm:cxn modelId="{8969E254-CBCF-4841-AA18-C37A799AEDD6}" type="presParOf" srcId="{F5EE9B1D-CB0B-4262-85B3-FF0C75F882D7}" destId="{11D187E9-AB8D-4EEC-B547-C8704F3DB044}" srcOrd="0" destOrd="0" presId="urn:microsoft.com/office/officeart/2005/8/layout/process5"/>
    <dgm:cxn modelId="{02BA0BB3-AEB5-4013-B39E-FC30D432A056}" type="presParOf" srcId="{F5EE9B1D-CB0B-4262-85B3-FF0C75F882D7}" destId="{01C0CE2C-9BA2-4246-B216-AF5BAC870688}" srcOrd="1" destOrd="0" presId="urn:microsoft.com/office/officeart/2005/8/layout/process5"/>
    <dgm:cxn modelId="{51251F47-C49E-4437-9A46-F582FCA037F9}" type="presParOf" srcId="{01C0CE2C-9BA2-4246-B216-AF5BAC870688}" destId="{8188915A-897C-43BE-95C1-A4B7344CA0F8}" srcOrd="0" destOrd="0" presId="urn:microsoft.com/office/officeart/2005/8/layout/process5"/>
    <dgm:cxn modelId="{14F71DB8-BC74-4EB3-B771-45607EE123F5}" type="presParOf" srcId="{F5EE9B1D-CB0B-4262-85B3-FF0C75F882D7}" destId="{1B490EA4-446E-42F3-BA7B-C7EB44AEEC36}" srcOrd="2" destOrd="0" presId="urn:microsoft.com/office/officeart/2005/8/layout/process5"/>
    <dgm:cxn modelId="{17AC6DB6-DC7A-4342-A220-8603E0529C0A}" type="presParOf" srcId="{F5EE9B1D-CB0B-4262-85B3-FF0C75F882D7}" destId="{E11C1738-0B6A-4012-95C4-ACE1AE9E0AE0}" srcOrd="3" destOrd="0" presId="urn:microsoft.com/office/officeart/2005/8/layout/process5"/>
    <dgm:cxn modelId="{4D90AC45-99BB-4634-8B46-AE91E771D8A4}" type="presParOf" srcId="{E11C1738-0B6A-4012-95C4-ACE1AE9E0AE0}" destId="{9D4C6E26-0B68-409C-A328-BA2BE65B1FF2}" srcOrd="0" destOrd="0" presId="urn:microsoft.com/office/officeart/2005/8/layout/process5"/>
    <dgm:cxn modelId="{C01010F5-03D9-47BE-ADA4-56E86B8FE288}" type="presParOf" srcId="{F5EE9B1D-CB0B-4262-85B3-FF0C75F882D7}" destId="{552619AA-40D8-4BE8-B531-225AC011C499}" srcOrd="4" destOrd="0" presId="urn:microsoft.com/office/officeart/2005/8/layout/process5"/>
    <dgm:cxn modelId="{B99FF327-2AA3-421C-96C1-9319D42BF2BA}" type="presParOf" srcId="{F5EE9B1D-CB0B-4262-85B3-FF0C75F882D7}" destId="{5561BA8E-C047-4B5B-9665-E0415656C379}" srcOrd="5" destOrd="0" presId="urn:microsoft.com/office/officeart/2005/8/layout/process5"/>
    <dgm:cxn modelId="{3047E5DE-9217-42CF-9A84-54D095A6B694}" type="presParOf" srcId="{5561BA8E-C047-4B5B-9665-E0415656C379}" destId="{F1CFD39C-4C5C-46FD-9C9E-F5BA9549D14A}" srcOrd="0" destOrd="0" presId="urn:microsoft.com/office/officeart/2005/8/layout/process5"/>
    <dgm:cxn modelId="{67E8A367-9C0D-47D8-B7C1-FA2BFA5041CE}" type="presParOf" srcId="{F5EE9B1D-CB0B-4262-85B3-FF0C75F882D7}" destId="{EA3BC127-3E37-49F9-9BE9-19B4C960B43E}" srcOrd="6" destOrd="0" presId="urn:microsoft.com/office/officeart/2005/8/layout/process5"/>
  </dgm:cxnLst>
  <dgm:bg/>
  <dgm:whole/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F2E5CB6-7D67-4DCE-A995-CA1059597D72}" type="doc">
      <dgm:prSet loTypeId="urn:microsoft.com/office/officeart/2005/8/layout/list1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id-ID"/>
        </a:p>
      </dgm:t>
    </dgm:pt>
    <dgm:pt modelId="{810ECDF1-95EE-4BAD-AF1D-F27E1F5FF2D0}">
      <dgm:prSet phldrT="[Text]" custT="1"/>
      <dgm:spPr/>
      <dgm:t>
        <a:bodyPr/>
        <a:lstStyle/>
        <a:p>
          <a:r>
            <a:rPr lang="id-ID" sz="1600" b="1" dirty="0" smtClean="0"/>
            <a:t>Receiving</a:t>
          </a:r>
        </a:p>
        <a:p>
          <a:r>
            <a:rPr lang="id-ID" sz="1600" dirty="0" smtClean="0"/>
            <a:t>Proses Penerimaan Barang Masuk  </a:t>
          </a:r>
          <a:endParaRPr lang="id-ID" sz="1600" dirty="0"/>
        </a:p>
      </dgm:t>
    </dgm:pt>
    <dgm:pt modelId="{826334AF-3577-4D1F-A677-C061CB3DBD33}" type="parTrans" cxnId="{5B69D4AA-7612-4058-BADB-510387D30335}">
      <dgm:prSet/>
      <dgm:spPr/>
      <dgm:t>
        <a:bodyPr/>
        <a:lstStyle/>
        <a:p>
          <a:endParaRPr lang="id-ID"/>
        </a:p>
      </dgm:t>
    </dgm:pt>
    <dgm:pt modelId="{270E9FF3-36D9-4AF0-B58C-B51F36FA226A}" type="sibTrans" cxnId="{5B69D4AA-7612-4058-BADB-510387D30335}">
      <dgm:prSet/>
      <dgm:spPr/>
      <dgm:t>
        <a:bodyPr/>
        <a:lstStyle/>
        <a:p>
          <a:endParaRPr lang="id-ID"/>
        </a:p>
      </dgm:t>
    </dgm:pt>
    <dgm:pt modelId="{EF0480B9-D18D-4CD6-9CB6-D07AA55A7F02}">
      <dgm:prSet phldrT="[Text]" custT="1"/>
      <dgm:spPr/>
      <dgm:t>
        <a:bodyPr/>
        <a:lstStyle/>
        <a:p>
          <a:r>
            <a:rPr lang="id-ID" sz="1600" b="1" dirty="0" smtClean="0"/>
            <a:t>Picking</a:t>
          </a:r>
        </a:p>
        <a:p>
          <a:r>
            <a:rPr lang="id-ID" sz="1600" dirty="0" smtClean="0"/>
            <a:t>Proses Pengambilan barang dari lokasi berdasarkan permintaan</a:t>
          </a:r>
          <a:endParaRPr lang="id-ID" sz="1600" dirty="0"/>
        </a:p>
      </dgm:t>
    </dgm:pt>
    <dgm:pt modelId="{95D5B07C-7A9D-40D5-98E7-EB4CF62F11A1}" type="parTrans" cxnId="{52F7B015-7292-4DE5-8EC3-3BE7969000AF}">
      <dgm:prSet/>
      <dgm:spPr/>
      <dgm:t>
        <a:bodyPr/>
        <a:lstStyle/>
        <a:p>
          <a:endParaRPr lang="id-ID"/>
        </a:p>
      </dgm:t>
    </dgm:pt>
    <dgm:pt modelId="{3E776472-F7C0-4D4F-8D7B-69E73EE52FBC}" type="sibTrans" cxnId="{52F7B015-7292-4DE5-8EC3-3BE7969000AF}">
      <dgm:prSet/>
      <dgm:spPr/>
      <dgm:t>
        <a:bodyPr/>
        <a:lstStyle/>
        <a:p>
          <a:endParaRPr lang="id-ID"/>
        </a:p>
      </dgm:t>
    </dgm:pt>
    <dgm:pt modelId="{0E6341C7-B958-43E5-B9EA-3E4F5C87FD22}">
      <dgm:prSet phldrT="[Text]" custT="1"/>
      <dgm:spPr/>
      <dgm:t>
        <a:bodyPr/>
        <a:lstStyle/>
        <a:p>
          <a:r>
            <a:rPr lang="id-ID" sz="1600" b="1" dirty="0" smtClean="0"/>
            <a:t>Packing</a:t>
          </a:r>
        </a:p>
        <a:p>
          <a:r>
            <a:rPr lang="id-ID" sz="1600" dirty="0" smtClean="0"/>
            <a:t>Proses Pengepakan barang yang sudah  diambil dan sudah di ceck olek pengecekan </a:t>
          </a:r>
          <a:endParaRPr lang="id-ID" sz="1600" dirty="0"/>
        </a:p>
      </dgm:t>
    </dgm:pt>
    <dgm:pt modelId="{2FC42592-D0A4-4F7A-9E16-78C7B0F2A6D5}" type="parTrans" cxnId="{34C4D54A-4B0C-42D7-AD73-64C4160C8F9B}">
      <dgm:prSet/>
      <dgm:spPr/>
      <dgm:t>
        <a:bodyPr/>
        <a:lstStyle/>
        <a:p>
          <a:endParaRPr lang="id-ID"/>
        </a:p>
      </dgm:t>
    </dgm:pt>
    <dgm:pt modelId="{5056CC82-17D5-4F19-B3B1-BF2FADAD2D17}" type="sibTrans" cxnId="{34C4D54A-4B0C-42D7-AD73-64C4160C8F9B}">
      <dgm:prSet/>
      <dgm:spPr/>
      <dgm:t>
        <a:bodyPr/>
        <a:lstStyle/>
        <a:p>
          <a:endParaRPr lang="id-ID"/>
        </a:p>
      </dgm:t>
    </dgm:pt>
    <dgm:pt modelId="{69B49BC0-FBD9-4FE2-B0B2-AA48D7494706}">
      <dgm:prSet phldrT="[Text]" custT="1"/>
      <dgm:spPr/>
      <dgm:t>
        <a:bodyPr/>
        <a:lstStyle/>
        <a:p>
          <a:r>
            <a:rPr lang="id-ID" sz="1600" b="1" dirty="0" smtClean="0"/>
            <a:t>Shipping</a:t>
          </a:r>
        </a:p>
        <a:p>
          <a:r>
            <a:rPr lang="id-ID" sz="1600" dirty="0" smtClean="0"/>
            <a:t>Proses pengiriman barang yang sudah di pic, ceck, pack oleh orang gudang </a:t>
          </a:r>
          <a:endParaRPr lang="id-ID" sz="1600" dirty="0"/>
        </a:p>
      </dgm:t>
    </dgm:pt>
    <dgm:pt modelId="{C8694C9F-0630-44D9-84D4-3367D99DC2F8}" type="parTrans" cxnId="{BAF107C7-9D5A-473D-8A71-C9CF798B9036}">
      <dgm:prSet/>
      <dgm:spPr/>
      <dgm:t>
        <a:bodyPr/>
        <a:lstStyle/>
        <a:p>
          <a:endParaRPr lang="id-ID"/>
        </a:p>
      </dgm:t>
    </dgm:pt>
    <dgm:pt modelId="{2F5A0FEE-A345-423C-AA78-AACBA766E611}" type="sibTrans" cxnId="{BAF107C7-9D5A-473D-8A71-C9CF798B9036}">
      <dgm:prSet/>
      <dgm:spPr/>
      <dgm:t>
        <a:bodyPr/>
        <a:lstStyle/>
        <a:p>
          <a:endParaRPr lang="id-ID"/>
        </a:p>
      </dgm:t>
    </dgm:pt>
    <dgm:pt modelId="{8B392DAF-2190-492E-9BA7-692CD374FF4D}">
      <dgm:prSet phldrT="[Text]" custT="1"/>
      <dgm:spPr/>
      <dgm:t>
        <a:bodyPr/>
        <a:lstStyle/>
        <a:p>
          <a:r>
            <a:rPr lang="id-ID" sz="1600" b="1" dirty="0" smtClean="0"/>
            <a:t>Check</a:t>
          </a:r>
        </a:p>
        <a:p>
          <a:r>
            <a:rPr lang="id-ID" sz="1600" dirty="0" smtClean="0"/>
            <a:t>Proses Ceck fisik, Qty , dan Part Number </a:t>
          </a:r>
          <a:endParaRPr lang="id-ID" sz="1600" dirty="0"/>
        </a:p>
      </dgm:t>
    </dgm:pt>
    <dgm:pt modelId="{B579171D-F4E6-464C-A688-CD5CDEE571A8}" type="parTrans" cxnId="{40E16B18-37B8-45B4-B4CE-5608FC2E2D91}">
      <dgm:prSet/>
      <dgm:spPr/>
      <dgm:t>
        <a:bodyPr/>
        <a:lstStyle/>
        <a:p>
          <a:endParaRPr lang="id-ID"/>
        </a:p>
      </dgm:t>
    </dgm:pt>
    <dgm:pt modelId="{E90041CD-0803-4999-940D-41CAF6914025}" type="sibTrans" cxnId="{40E16B18-37B8-45B4-B4CE-5608FC2E2D91}">
      <dgm:prSet/>
      <dgm:spPr/>
      <dgm:t>
        <a:bodyPr/>
        <a:lstStyle/>
        <a:p>
          <a:endParaRPr lang="id-ID"/>
        </a:p>
      </dgm:t>
    </dgm:pt>
    <dgm:pt modelId="{9F853698-0608-4EFD-ABC8-65C7738D7884}" type="pres">
      <dgm:prSet presAssocID="{3F2E5CB6-7D67-4DCE-A995-CA1059597D72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d-ID"/>
        </a:p>
      </dgm:t>
    </dgm:pt>
    <dgm:pt modelId="{145EE0EB-F3C7-494E-848E-F832F994975A}" type="pres">
      <dgm:prSet presAssocID="{810ECDF1-95EE-4BAD-AF1D-F27E1F5FF2D0}" presName="parentLin" presStyleCnt="0"/>
      <dgm:spPr/>
      <dgm:t>
        <a:bodyPr/>
        <a:lstStyle/>
        <a:p>
          <a:endParaRPr lang="id-ID"/>
        </a:p>
      </dgm:t>
    </dgm:pt>
    <dgm:pt modelId="{A17E4C89-2DC1-4058-8B12-4CBEEA973550}" type="pres">
      <dgm:prSet presAssocID="{810ECDF1-95EE-4BAD-AF1D-F27E1F5FF2D0}" presName="parentLeftMargin" presStyleLbl="node1" presStyleIdx="0" presStyleCnt="5"/>
      <dgm:spPr/>
      <dgm:t>
        <a:bodyPr/>
        <a:lstStyle/>
        <a:p>
          <a:endParaRPr lang="id-ID"/>
        </a:p>
      </dgm:t>
    </dgm:pt>
    <dgm:pt modelId="{2B5D3C4D-2090-47DE-9467-5EAD42310DDD}" type="pres">
      <dgm:prSet presAssocID="{810ECDF1-95EE-4BAD-AF1D-F27E1F5FF2D0}" presName="parentText" presStyleLbl="node1" presStyleIdx="0" presStyleCnt="5" custScaleX="142857" custScaleY="229019">
        <dgm:presLayoutVars>
          <dgm:chMax val="0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799A9A39-D9D9-4E4D-9A89-C741FD080866}" type="pres">
      <dgm:prSet presAssocID="{810ECDF1-95EE-4BAD-AF1D-F27E1F5FF2D0}" presName="negativeSpace" presStyleCnt="0"/>
      <dgm:spPr/>
      <dgm:t>
        <a:bodyPr/>
        <a:lstStyle/>
        <a:p>
          <a:endParaRPr lang="id-ID"/>
        </a:p>
      </dgm:t>
    </dgm:pt>
    <dgm:pt modelId="{3F3199E0-9EE7-4D2D-8FEE-C7133E32E571}" type="pres">
      <dgm:prSet presAssocID="{810ECDF1-95EE-4BAD-AF1D-F27E1F5FF2D0}" presName="childText" presStyleLbl="conFgAcc1" presStyleIdx="0" presStyleCnt="5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B0F2E04D-E534-4DE0-8560-6258A1270B28}" type="pres">
      <dgm:prSet presAssocID="{270E9FF3-36D9-4AF0-B58C-B51F36FA226A}" presName="spaceBetweenRectangles" presStyleCnt="0"/>
      <dgm:spPr/>
      <dgm:t>
        <a:bodyPr/>
        <a:lstStyle/>
        <a:p>
          <a:endParaRPr lang="id-ID"/>
        </a:p>
      </dgm:t>
    </dgm:pt>
    <dgm:pt modelId="{549AB3C8-8C8B-412F-9A10-A8C93172EF3E}" type="pres">
      <dgm:prSet presAssocID="{EF0480B9-D18D-4CD6-9CB6-D07AA55A7F02}" presName="parentLin" presStyleCnt="0"/>
      <dgm:spPr/>
      <dgm:t>
        <a:bodyPr/>
        <a:lstStyle/>
        <a:p>
          <a:endParaRPr lang="id-ID"/>
        </a:p>
      </dgm:t>
    </dgm:pt>
    <dgm:pt modelId="{98D3A39C-89B6-4401-9580-BC1A7441F4D9}" type="pres">
      <dgm:prSet presAssocID="{EF0480B9-D18D-4CD6-9CB6-D07AA55A7F02}" presName="parentLeftMargin" presStyleLbl="node1" presStyleIdx="0" presStyleCnt="5"/>
      <dgm:spPr/>
      <dgm:t>
        <a:bodyPr/>
        <a:lstStyle/>
        <a:p>
          <a:endParaRPr lang="id-ID"/>
        </a:p>
      </dgm:t>
    </dgm:pt>
    <dgm:pt modelId="{E1B3F43C-2400-4F8B-9D31-5A641118419F}" type="pres">
      <dgm:prSet presAssocID="{EF0480B9-D18D-4CD6-9CB6-D07AA55A7F02}" presName="parentText" presStyleLbl="node1" presStyleIdx="1" presStyleCnt="5" custScaleX="142857" custScaleY="229019">
        <dgm:presLayoutVars>
          <dgm:chMax val="0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57FF3FA8-DA87-4509-90C2-7275E449E3C1}" type="pres">
      <dgm:prSet presAssocID="{EF0480B9-D18D-4CD6-9CB6-D07AA55A7F02}" presName="negativeSpace" presStyleCnt="0"/>
      <dgm:spPr/>
      <dgm:t>
        <a:bodyPr/>
        <a:lstStyle/>
        <a:p>
          <a:endParaRPr lang="id-ID"/>
        </a:p>
      </dgm:t>
    </dgm:pt>
    <dgm:pt modelId="{F33EC325-A1CB-43A5-8D21-529116959E54}" type="pres">
      <dgm:prSet presAssocID="{EF0480B9-D18D-4CD6-9CB6-D07AA55A7F02}" presName="childText" presStyleLbl="conFgAcc1" presStyleIdx="1" presStyleCnt="5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463867B8-AC1E-41E1-B3CA-F2F20BF263BF}" type="pres">
      <dgm:prSet presAssocID="{3E776472-F7C0-4D4F-8D7B-69E73EE52FBC}" presName="spaceBetweenRectangles" presStyleCnt="0"/>
      <dgm:spPr/>
      <dgm:t>
        <a:bodyPr/>
        <a:lstStyle/>
        <a:p>
          <a:endParaRPr lang="id-ID"/>
        </a:p>
      </dgm:t>
    </dgm:pt>
    <dgm:pt modelId="{60522D13-6A96-421C-9D33-459444F3D4E9}" type="pres">
      <dgm:prSet presAssocID="{8B392DAF-2190-492E-9BA7-692CD374FF4D}" presName="parentLin" presStyleCnt="0"/>
      <dgm:spPr/>
      <dgm:t>
        <a:bodyPr/>
        <a:lstStyle/>
        <a:p>
          <a:endParaRPr lang="id-ID"/>
        </a:p>
      </dgm:t>
    </dgm:pt>
    <dgm:pt modelId="{7969EF29-8709-42A8-97C0-B85F5272BE43}" type="pres">
      <dgm:prSet presAssocID="{8B392DAF-2190-492E-9BA7-692CD374FF4D}" presName="parentLeftMargin" presStyleLbl="node1" presStyleIdx="1" presStyleCnt="5"/>
      <dgm:spPr/>
      <dgm:t>
        <a:bodyPr/>
        <a:lstStyle/>
        <a:p>
          <a:endParaRPr lang="id-ID"/>
        </a:p>
      </dgm:t>
    </dgm:pt>
    <dgm:pt modelId="{1208C8B4-A6A1-46A8-86EF-04EF87B7C924}" type="pres">
      <dgm:prSet presAssocID="{8B392DAF-2190-492E-9BA7-692CD374FF4D}" presName="parentText" presStyleLbl="node1" presStyleIdx="2" presStyleCnt="5" custScaleX="142857" custScaleY="229019">
        <dgm:presLayoutVars>
          <dgm:chMax val="0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9795C94E-237C-498F-871A-054EE484A181}" type="pres">
      <dgm:prSet presAssocID="{8B392DAF-2190-492E-9BA7-692CD374FF4D}" presName="negativeSpace" presStyleCnt="0"/>
      <dgm:spPr/>
      <dgm:t>
        <a:bodyPr/>
        <a:lstStyle/>
        <a:p>
          <a:endParaRPr lang="id-ID"/>
        </a:p>
      </dgm:t>
    </dgm:pt>
    <dgm:pt modelId="{F9544E4D-C866-447F-8A0B-9A9F4B3A69E7}" type="pres">
      <dgm:prSet presAssocID="{8B392DAF-2190-492E-9BA7-692CD374FF4D}" presName="childText" presStyleLbl="conFgAcc1" presStyleIdx="2" presStyleCnt="5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F6A6FBB7-2C7E-42A8-A303-856A5A672EDF}" type="pres">
      <dgm:prSet presAssocID="{E90041CD-0803-4999-940D-41CAF6914025}" presName="spaceBetweenRectangles" presStyleCnt="0"/>
      <dgm:spPr/>
      <dgm:t>
        <a:bodyPr/>
        <a:lstStyle/>
        <a:p>
          <a:endParaRPr lang="id-ID"/>
        </a:p>
      </dgm:t>
    </dgm:pt>
    <dgm:pt modelId="{DCA1368D-09A6-4F16-862E-346974657641}" type="pres">
      <dgm:prSet presAssocID="{0E6341C7-B958-43E5-B9EA-3E4F5C87FD22}" presName="parentLin" presStyleCnt="0"/>
      <dgm:spPr/>
      <dgm:t>
        <a:bodyPr/>
        <a:lstStyle/>
        <a:p>
          <a:endParaRPr lang="id-ID"/>
        </a:p>
      </dgm:t>
    </dgm:pt>
    <dgm:pt modelId="{122CEE9D-CB60-46E9-B93A-D59C1550B63F}" type="pres">
      <dgm:prSet presAssocID="{0E6341C7-B958-43E5-B9EA-3E4F5C87FD22}" presName="parentLeftMargin" presStyleLbl="node1" presStyleIdx="2" presStyleCnt="5"/>
      <dgm:spPr/>
      <dgm:t>
        <a:bodyPr/>
        <a:lstStyle/>
        <a:p>
          <a:endParaRPr lang="id-ID"/>
        </a:p>
      </dgm:t>
    </dgm:pt>
    <dgm:pt modelId="{D7C83723-38F8-48F5-8F3E-8D9F931EB2FD}" type="pres">
      <dgm:prSet presAssocID="{0E6341C7-B958-43E5-B9EA-3E4F5C87FD22}" presName="parentText" presStyleLbl="node1" presStyleIdx="3" presStyleCnt="5" custScaleX="142857" custScaleY="229019">
        <dgm:presLayoutVars>
          <dgm:chMax val="0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BBB90424-B237-47D8-A17B-929FE90533EB}" type="pres">
      <dgm:prSet presAssocID="{0E6341C7-B958-43E5-B9EA-3E4F5C87FD22}" presName="negativeSpace" presStyleCnt="0"/>
      <dgm:spPr/>
      <dgm:t>
        <a:bodyPr/>
        <a:lstStyle/>
        <a:p>
          <a:endParaRPr lang="id-ID"/>
        </a:p>
      </dgm:t>
    </dgm:pt>
    <dgm:pt modelId="{49D17B8E-D8F0-4614-BABB-AB612874C4D3}" type="pres">
      <dgm:prSet presAssocID="{0E6341C7-B958-43E5-B9EA-3E4F5C87FD22}" presName="childText" presStyleLbl="conFgAcc1" presStyleIdx="3" presStyleCnt="5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31DFAF4E-F840-4184-9CBE-C81785291862}" type="pres">
      <dgm:prSet presAssocID="{5056CC82-17D5-4F19-B3B1-BF2FADAD2D17}" presName="spaceBetweenRectangles" presStyleCnt="0"/>
      <dgm:spPr/>
      <dgm:t>
        <a:bodyPr/>
        <a:lstStyle/>
        <a:p>
          <a:endParaRPr lang="id-ID"/>
        </a:p>
      </dgm:t>
    </dgm:pt>
    <dgm:pt modelId="{DD310707-EBF5-4101-9410-D3D359E8ED5C}" type="pres">
      <dgm:prSet presAssocID="{69B49BC0-FBD9-4FE2-B0B2-AA48D7494706}" presName="parentLin" presStyleCnt="0"/>
      <dgm:spPr/>
      <dgm:t>
        <a:bodyPr/>
        <a:lstStyle/>
        <a:p>
          <a:endParaRPr lang="id-ID"/>
        </a:p>
      </dgm:t>
    </dgm:pt>
    <dgm:pt modelId="{A5A26742-085D-456F-B793-BDE10527C8C8}" type="pres">
      <dgm:prSet presAssocID="{69B49BC0-FBD9-4FE2-B0B2-AA48D7494706}" presName="parentLeftMargin" presStyleLbl="node1" presStyleIdx="3" presStyleCnt="5"/>
      <dgm:spPr/>
      <dgm:t>
        <a:bodyPr/>
        <a:lstStyle/>
        <a:p>
          <a:endParaRPr lang="id-ID"/>
        </a:p>
      </dgm:t>
    </dgm:pt>
    <dgm:pt modelId="{CB27D288-DD96-4D36-B338-196BA5440FFE}" type="pres">
      <dgm:prSet presAssocID="{69B49BC0-FBD9-4FE2-B0B2-AA48D7494706}" presName="parentText" presStyleLbl="node1" presStyleIdx="4" presStyleCnt="5" custScaleX="142857" custScaleY="229019">
        <dgm:presLayoutVars>
          <dgm:chMax val="0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4DF9A43F-9C67-4F8A-A1DA-62122BB8A867}" type="pres">
      <dgm:prSet presAssocID="{69B49BC0-FBD9-4FE2-B0B2-AA48D7494706}" presName="negativeSpace" presStyleCnt="0"/>
      <dgm:spPr/>
      <dgm:t>
        <a:bodyPr/>
        <a:lstStyle/>
        <a:p>
          <a:endParaRPr lang="id-ID"/>
        </a:p>
      </dgm:t>
    </dgm:pt>
    <dgm:pt modelId="{33F5093A-FEAF-460D-8943-1797FBE16E7F}" type="pres">
      <dgm:prSet presAssocID="{69B49BC0-FBD9-4FE2-B0B2-AA48D7494706}" presName="childText" presStyleLbl="conFgAcc1" presStyleIdx="4" presStyleCnt="5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</dgm:ptLst>
  <dgm:cxnLst>
    <dgm:cxn modelId="{34C4D54A-4B0C-42D7-AD73-64C4160C8F9B}" srcId="{3F2E5CB6-7D67-4DCE-A995-CA1059597D72}" destId="{0E6341C7-B958-43E5-B9EA-3E4F5C87FD22}" srcOrd="3" destOrd="0" parTransId="{2FC42592-D0A4-4F7A-9E16-78C7B0F2A6D5}" sibTransId="{5056CC82-17D5-4F19-B3B1-BF2FADAD2D17}"/>
    <dgm:cxn modelId="{2B895448-2337-4E55-B7E6-BD670E68BEB9}" type="presOf" srcId="{0E6341C7-B958-43E5-B9EA-3E4F5C87FD22}" destId="{122CEE9D-CB60-46E9-B93A-D59C1550B63F}" srcOrd="0" destOrd="0" presId="urn:microsoft.com/office/officeart/2005/8/layout/list1"/>
    <dgm:cxn modelId="{897CA24A-559A-4E5E-9069-88C53EA0E8F0}" type="presOf" srcId="{810ECDF1-95EE-4BAD-AF1D-F27E1F5FF2D0}" destId="{2B5D3C4D-2090-47DE-9467-5EAD42310DDD}" srcOrd="1" destOrd="0" presId="urn:microsoft.com/office/officeart/2005/8/layout/list1"/>
    <dgm:cxn modelId="{D11BD66E-EEFB-48D7-AC49-C2671E3E1BB5}" type="presOf" srcId="{8B392DAF-2190-492E-9BA7-692CD374FF4D}" destId="{1208C8B4-A6A1-46A8-86EF-04EF87B7C924}" srcOrd="1" destOrd="0" presId="urn:microsoft.com/office/officeart/2005/8/layout/list1"/>
    <dgm:cxn modelId="{40E16B18-37B8-45B4-B4CE-5608FC2E2D91}" srcId="{3F2E5CB6-7D67-4DCE-A995-CA1059597D72}" destId="{8B392DAF-2190-492E-9BA7-692CD374FF4D}" srcOrd="2" destOrd="0" parTransId="{B579171D-F4E6-464C-A688-CD5CDEE571A8}" sibTransId="{E90041CD-0803-4999-940D-41CAF6914025}"/>
    <dgm:cxn modelId="{5B69D4AA-7612-4058-BADB-510387D30335}" srcId="{3F2E5CB6-7D67-4DCE-A995-CA1059597D72}" destId="{810ECDF1-95EE-4BAD-AF1D-F27E1F5FF2D0}" srcOrd="0" destOrd="0" parTransId="{826334AF-3577-4D1F-A677-C061CB3DBD33}" sibTransId="{270E9FF3-36D9-4AF0-B58C-B51F36FA226A}"/>
    <dgm:cxn modelId="{437B2B78-A75E-4509-AF84-495FF9CEA281}" type="presOf" srcId="{8B392DAF-2190-492E-9BA7-692CD374FF4D}" destId="{7969EF29-8709-42A8-97C0-B85F5272BE43}" srcOrd="0" destOrd="0" presId="urn:microsoft.com/office/officeart/2005/8/layout/list1"/>
    <dgm:cxn modelId="{42FD77C5-EFD1-44E8-85B3-0E720EBBE0A3}" type="presOf" srcId="{EF0480B9-D18D-4CD6-9CB6-D07AA55A7F02}" destId="{98D3A39C-89B6-4401-9580-BC1A7441F4D9}" srcOrd="0" destOrd="0" presId="urn:microsoft.com/office/officeart/2005/8/layout/list1"/>
    <dgm:cxn modelId="{F6FD2594-8FA9-4775-B190-0301E9D7EF81}" type="presOf" srcId="{3F2E5CB6-7D67-4DCE-A995-CA1059597D72}" destId="{9F853698-0608-4EFD-ABC8-65C7738D7884}" srcOrd="0" destOrd="0" presId="urn:microsoft.com/office/officeart/2005/8/layout/list1"/>
    <dgm:cxn modelId="{0CEAF8C5-FDC5-4ADA-A384-365F2A07B195}" type="presOf" srcId="{EF0480B9-D18D-4CD6-9CB6-D07AA55A7F02}" destId="{E1B3F43C-2400-4F8B-9D31-5A641118419F}" srcOrd="1" destOrd="0" presId="urn:microsoft.com/office/officeart/2005/8/layout/list1"/>
    <dgm:cxn modelId="{718CA7DF-E7AA-4FCC-9317-38E1134A97B8}" type="presOf" srcId="{0E6341C7-B958-43E5-B9EA-3E4F5C87FD22}" destId="{D7C83723-38F8-48F5-8F3E-8D9F931EB2FD}" srcOrd="1" destOrd="0" presId="urn:microsoft.com/office/officeart/2005/8/layout/list1"/>
    <dgm:cxn modelId="{2A4469CA-7D68-49A7-927A-289804C40F54}" type="presOf" srcId="{810ECDF1-95EE-4BAD-AF1D-F27E1F5FF2D0}" destId="{A17E4C89-2DC1-4058-8B12-4CBEEA973550}" srcOrd="0" destOrd="0" presId="urn:microsoft.com/office/officeart/2005/8/layout/list1"/>
    <dgm:cxn modelId="{BC869656-CE1C-44E0-A496-E74C759F6068}" type="presOf" srcId="{69B49BC0-FBD9-4FE2-B0B2-AA48D7494706}" destId="{A5A26742-085D-456F-B793-BDE10527C8C8}" srcOrd="0" destOrd="0" presId="urn:microsoft.com/office/officeart/2005/8/layout/list1"/>
    <dgm:cxn modelId="{52F7B015-7292-4DE5-8EC3-3BE7969000AF}" srcId="{3F2E5CB6-7D67-4DCE-A995-CA1059597D72}" destId="{EF0480B9-D18D-4CD6-9CB6-D07AA55A7F02}" srcOrd="1" destOrd="0" parTransId="{95D5B07C-7A9D-40D5-98E7-EB4CF62F11A1}" sibTransId="{3E776472-F7C0-4D4F-8D7B-69E73EE52FBC}"/>
    <dgm:cxn modelId="{71273BDB-1E77-48EB-8EA8-1CC5CE9895CA}" type="presOf" srcId="{69B49BC0-FBD9-4FE2-B0B2-AA48D7494706}" destId="{CB27D288-DD96-4D36-B338-196BA5440FFE}" srcOrd="1" destOrd="0" presId="urn:microsoft.com/office/officeart/2005/8/layout/list1"/>
    <dgm:cxn modelId="{BAF107C7-9D5A-473D-8A71-C9CF798B9036}" srcId="{3F2E5CB6-7D67-4DCE-A995-CA1059597D72}" destId="{69B49BC0-FBD9-4FE2-B0B2-AA48D7494706}" srcOrd="4" destOrd="0" parTransId="{C8694C9F-0630-44D9-84D4-3367D99DC2F8}" sibTransId="{2F5A0FEE-A345-423C-AA78-AACBA766E611}"/>
    <dgm:cxn modelId="{E43FB05C-7F5B-4B23-9DF2-F9BAB9B3A017}" type="presParOf" srcId="{9F853698-0608-4EFD-ABC8-65C7738D7884}" destId="{145EE0EB-F3C7-494E-848E-F832F994975A}" srcOrd="0" destOrd="0" presId="urn:microsoft.com/office/officeart/2005/8/layout/list1"/>
    <dgm:cxn modelId="{8F76518F-52A0-4D19-970A-2ED6C3CBFD09}" type="presParOf" srcId="{145EE0EB-F3C7-494E-848E-F832F994975A}" destId="{A17E4C89-2DC1-4058-8B12-4CBEEA973550}" srcOrd="0" destOrd="0" presId="urn:microsoft.com/office/officeart/2005/8/layout/list1"/>
    <dgm:cxn modelId="{826D0AE5-FCE3-4808-B8D8-7C54CDD8BAF7}" type="presParOf" srcId="{145EE0EB-F3C7-494E-848E-F832F994975A}" destId="{2B5D3C4D-2090-47DE-9467-5EAD42310DDD}" srcOrd="1" destOrd="0" presId="urn:microsoft.com/office/officeart/2005/8/layout/list1"/>
    <dgm:cxn modelId="{6E583E90-04D0-499F-ACCE-B9B4D76C7D89}" type="presParOf" srcId="{9F853698-0608-4EFD-ABC8-65C7738D7884}" destId="{799A9A39-D9D9-4E4D-9A89-C741FD080866}" srcOrd="1" destOrd="0" presId="urn:microsoft.com/office/officeart/2005/8/layout/list1"/>
    <dgm:cxn modelId="{679C6165-FA64-4452-8992-67E77032618E}" type="presParOf" srcId="{9F853698-0608-4EFD-ABC8-65C7738D7884}" destId="{3F3199E0-9EE7-4D2D-8FEE-C7133E32E571}" srcOrd="2" destOrd="0" presId="urn:microsoft.com/office/officeart/2005/8/layout/list1"/>
    <dgm:cxn modelId="{1CD55E31-3384-4CD9-AFEE-2FAA70948C24}" type="presParOf" srcId="{9F853698-0608-4EFD-ABC8-65C7738D7884}" destId="{B0F2E04D-E534-4DE0-8560-6258A1270B28}" srcOrd="3" destOrd="0" presId="urn:microsoft.com/office/officeart/2005/8/layout/list1"/>
    <dgm:cxn modelId="{CE7F4C75-61F0-4F24-9CEA-57DD24B2F91B}" type="presParOf" srcId="{9F853698-0608-4EFD-ABC8-65C7738D7884}" destId="{549AB3C8-8C8B-412F-9A10-A8C93172EF3E}" srcOrd="4" destOrd="0" presId="urn:microsoft.com/office/officeart/2005/8/layout/list1"/>
    <dgm:cxn modelId="{3B5C38E4-884F-44DE-9E6C-A42D47DDB026}" type="presParOf" srcId="{549AB3C8-8C8B-412F-9A10-A8C93172EF3E}" destId="{98D3A39C-89B6-4401-9580-BC1A7441F4D9}" srcOrd="0" destOrd="0" presId="urn:microsoft.com/office/officeart/2005/8/layout/list1"/>
    <dgm:cxn modelId="{44E0BAE8-0015-4096-9ECB-F043D75CE63C}" type="presParOf" srcId="{549AB3C8-8C8B-412F-9A10-A8C93172EF3E}" destId="{E1B3F43C-2400-4F8B-9D31-5A641118419F}" srcOrd="1" destOrd="0" presId="urn:microsoft.com/office/officeart/2005/8/layout/list1"/>
    <dgm:cxn modelId="{CAFD8D44-4749-4F0E-A6EC-57A45AB96D31}" type="presParOf" srcId="{9F853698-0608-4EFD-ABC8-65C7738D7884}" destId="{57FF3FA8-DA87-4509-90C2-7275E449E3C1}" srcOrd="5" destOrd="0" presId="urn:microsoft.com/office/officeart/2005/8/layout/list1"/>
    <dgm:cxn modelId="{F7698C1F-4CC9-408D-908F-6D41703620CA}" type="presParOf" srcId="{9F853698-0608-4EFD-ABC8-65C7738D7884}" destId="{F33EC325-A1CB-43A5-8D21-529116959E54}" srcOrd="6" destOrd="0" presId="urn:microsoft.com/office/officeart/2005/8/layout/list1"/>
    <dgm:cxn modelId="{CF2DA331-78F3-44A5-923F-0D07958A47EA}" type="presParOf" srcId="{9F853698-0608-4EFD-ABC8-65C7738D7884}" destId="{463867B8-AC1E-41E1-B3CA-F2F20BF263BF}" srcOrd="7" destOrd="0" presId="urn:microsoft.com/office/officeart/2005/8/layout/list1"/>
    <dgm:cxn modelId="{69842D7C-812F-4D76-93F8-6A4D1288BEB4}" type="presParOf" srcId="{9F853698-0608-4EFD-ABC8-65C7738D7884}" destId="{60522D13-6A96-421C-9D33-459444F3D4E9}" srcOrd="8" destOrd="0" presId="urn:microsoft.com/office/officeart/2005/8/layout/list1"/>
    <dgm:cxn modelId="{449EEACC-9C0E-49A6-B202-F3AD4E66C66F}" type="presParOf" srcId="{60522D13-6A96-421C-9D33-459444F3D4E9}" destId="{7969EF29-8709-42A8-97C0-B85F5272BE43}" srcOrd="0" destOrd="0" presId="urn:microsoft.com/office/officeart/2005/8/layout/list1"/>
    <dgm:cxn modelId="{487CD182-B55D-4C9D-B995-31AE7EFD0EA7}" type="presParOf" srcId="{60522D13-6A96-421C-9D33-459444F3D4E9}" destId="{1208C8B4-A6A1-46A8-86EF-04EF87B7C924}" srcOrd="1" destOrd="0" presId="urn:microsoft.com/office/officeart/2005/8/layout/list1"/>
    <dgm:cxn modelId="{7F94856C-EAFD-417A-8155-11CC96913D38}" type="presParOf" srcId="{9F853698-0608-4EFD-ABC8-65C7738D7884}" destId="{9795C94E-237C-498F-871A-054EE484A181}" srcOrd="9" destOrd="0" presId="urn:microsoft.com/office/officeart/2005/8/layout/list1"/>
    <dgm:cxn modelId="{142E3B49-8DD7-4FFC-9B73-81E2C70CB832}" type="presParOf" srcId="{9F853698-0608-4EFD-ABC8-65C7738D7884}" destId="{F9544E4D-C866-447F-8A0B-9A9F4B3A69E7}" srcOrd="10" destOrd="0" presId="urn:microsoft.com/office/officeart/2005/8/layout/list1"/>
    <dgm:cxn modelId="{761E3EA8-3B95-4A41-919A-FC6D436F4208}" type="presParOf" srcId="{9F853698-0608-4EFD-ABC8-65C7738D7884}" destId="{F6A6FBB7-2C7E-42A8-A303-856A5A672EDF}" srcOrd="11" destOrd="0" presId="urn:microsoft.com/office/officeart/2005/8/layout/list1"/>
    <dgm:cxn modelId="{DE4D36EF-82A2-423F-B533-C79E398B57A5}" type="presParOf" srcId="{9F853698-0608-4EFD-ABC8-65C7738D7884}" destId="{DCA1368D-09A6-4F16-862E-346974657641}" srcOrd="12" destOrd="0" presId="urn:microsoft.com/office/officeart/2005/8/layout/list1"/>
    <dgm:cxn modelId="{04A66EB3-35A1-468A-923B-9A33EDB405BE}" type="presParOf" srcId="{DCA1368D-09A6-4F16-862E-346974657641}" destId="{122CEE9D-CB60-46E9-B93A-D59C1550B63F}" srcOrd="0" destOrd="0" presId="urn:microsoft.com/office/officeart/2005/8/layout/list1"/>
    <dgm:cxn modelId="{A57D8B87-8AD8-4564-BF94-DEFA2469C372}" type="presParOf" srcId="{DCA1368D-09A6-4F16-862E-346974657641}" destId="{D7C83723-38F8-48F5-8F3E-8D9F931EB2FD}" srcOrd="1" destOrd="0" presId="urn:microsoft.com/office/officeart/2005/8/layout/list1"/>
    <dgm:cxn modelId="{8776913E-29BB-4A36-8BE0-D629C3F6FF11}" type="presParOf" srcId="{9F853698-0608-4EFD-ABC8-65C7738D7884}" destId="{BBB90424-B237-47D8-A17B-929FE90533EB}" srcOrd="13" destOrd="0" presId="urn:microsoft.com/office/officeart/2005/8/layout/list1"/>
    <dgm:cxn modelId="{674F70B4-FC00-4342-A1A4-B0E00AF5ADB6}" type="presParOf" srcId="{9F853698-0608-4EFD-ABC8-65C7738D7884}" destId="{49D17B8E-D8F0-4614-BABB-AB612874C4D3}" srcOrd="14" destOrd="0" presId="urn:microsoft.com/office/officeart/2005/8/layout/list1"/>
    <dgm:cxn modelId="{3C323AA3-372F-48C0-A68B-53A9E4DC2A25}" type="presParOf" srcId="{9F853698-0608-4EFD-ABC8-65C7738D7884}" destId="{31DFAF4E-F840-4184-9CBE-C81785291862}" srcOrd="15" destOrd="0" presId="urn:microsoft.com/office/officeart/2005/8/layout/list1"/>
    <dgm:cxn modelId="{03EC1FED-E554-4653-991C-760A23CEF97E}" type="presParOf" srcId="{9F853698-0608-4EFD-ABC8-65C7738D7884}" destId="{DD310707-EBF5-4101-9410-D3D359E8ED5C}" srcOrd="16" destOrd="0" presId="urn:microsoft.com/office/officeart/2005/8/layout/list1"/>
    <dgm:cxn modelId="{BB515790-5148-4324-996F-C648F67E7CD5}" type="presParOf" srcId="{DD310707-EBF5-4101-9410-D3D359E8ED5C}" destId="{A5A26742-085D-456F-B793-BDE10527C8C8}" srcOrd="0" destOrd="0" presId="urn:microsoft.com/office/officeart/2005/8/layout/list1"/>
    <dgm:cxn modelId="{26C3CAF3-AA78-47D7-8AB6-A191B9BB8F98}" type="presParOf" srcId="{DD310707-EBF5-4101-9410-D3D359E8ED5C}" destId="{CB27D288-DD96-4D36-B338-196BA5440FFE}" srcOrd="1" destOrd="0" presId="urn:microsoft.com/office/officeart/2005/8/layout/list1"/>
    <dgm:cxn modelId="{21957107-FB3F-4264-9FA2-B03038E0AA76}" type="presParOf" srcId="{9F853698-0608-4EFD-ABC8-65C7738D7884}" destId="{4DF9A43F-9C67-4F8A-A1DA-62122BB8A867}" srcOrd="17" destOrd="0" presId="urn:microsoft.com/office/officeart/2005/8/layout/list1"/>
    <dgm:cxn modelId="{EF73FEE4-230E-4E97-A988-5B4DF6F84277}" type="presParOf" srcId="{9F853698-0608-4EFD-ABC8-65C7738D7884}" destId="{33F5093A-FEAF-460D-8943-1797FBE16E7F}" srcOrd="18" destOrd="0" presId="urn:microsoft.com/office/officeart/2005/8/layout/list1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3B111CD-35E6-4CAF-9844-D93AB8F0018C}" type="doc">
      <dgm:prSet loTypeId="urn:microsoft.com/office/officeart/2005/8/layout/bProcess4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id-ID"/>
        </a:p>
      </dgm:t>
    </dgm:pt>
    <dgm:pt modelId="{53AB8C23-4DE9-46EF-AAF1-791E76A4B447}">
      <dgm:prSet phldrT="[Text]" custT="1"/>
      <dgm:spPr/>
      <dgm:t>
        <a:bodyPr/>
        <a:lstStyle/>
        <a:p>
          <a:pPr algn="ctr"/>
          <a:endParaRPr lang="id-ID" sz="1600" b="1" u="sng" dirty="0" smtClean="0"/>
        </a:p>
        <a:p>
          <a:pPr algn="ctr"/>
          <a:r>
            <a:rPr lang="id-ID" sz="1600" b="1" u="sng" dirty="0" smtClean="0"/>
            <a:t>TEAM SPARE PART </a:t>
          </a:r>
          <a:r>
            <a:rPr lang="id-ID" sz="1600" dirty="0" smtClean="0"/>
            <a:t>Melakukan Proses Leveling </a:t>
          </a:r>
          <a:endParaRPr lang="id-ID" sz="1600" dirty="0"/>
        </a:p>
      </dgm:t>
    </dgm:pt>
    <dgm:pt modelId="{8DEAC635-24F5-4151-B075-0B0041C397DB}" type="parTrans" cxnId="{08BB50CB-291B-4D66-9AFD-330EF43AC73E}">
      <dgm:prSet/>
      <dgm:spPr/>
      <dgm:t>
        <a:bodyPr/>
        <a:lstStyle/>
        <a:p>
          <a:endParaRPr lang="id-ID"/>
        </a:p>
      </dgm:t>
    </dgm:pt>
    <dgm:pt modelId="{080C5BB6-D2EA-4EDE-B41F-A3A00CCA4DE0}" type="sibTrans" cxnId="{08BB50CB-291B-4D66-9AFD-330EF43AC73E}">
      <dgm:prSet/>
      <dgm:spPr/>
      <dgm:t>
        <a:bodyPr/>
        <a:lstStyle/>
        <a:p>
          <a:endParaRPr lang="id-ID"/>
        </a:p>
      </dgm:t>
    </dgm:pt>
    <dgm:pt modelId="{1B9E8465-99DB-4323-B6A2-09F541EDCAFF}">
      <dgm:prSet phldrT="[Text]"/>
      <dgm:spPr/>
      <dgm:t>
        <a:bodyPr/>
        <a:lstStyle/>
        <a:p>
          <a:r>
            <a:rPr lang="id-ID" b="1" u="sng" dirty="0" smtClean="0"/>
            <a:t>ADM. WH</a:t>
          </a:r>
        </a:p>
        <a:p>
          <a:r>
            <a:rPr lang="id-ID" dirty="0" smtClean="0"/>
            <a:t>Proses Assignt Card Picking list</a:t>
          </a:r>
          <a:endParaRPr lang="id-ID" dirty="0"/>
        </a:p>
      </dgm:t>
    </dgm:pt>
    <dgm:pt modelId="{F30C772C-CC9F-48D9-A272-D83A45597516}" type="parTrans" cxnId="{4F613857-ACB6-46DD-A522-418EE513EEF3}">
      <dgm:prSet/>
      <dgm:spPr/>
      <dgm:t>
        <a:bodyPr/>
        <a:lstStyle/>
        <a:p>
          <a:endParaRPr lang="id-ID"/>
        </a:p>
      </dgm:t>
    </dgm:pt>
    <dgm:pt modelId="{1DCE693F-B02E-4C4F-B4BC-A29B82A01BBC}" type="sibTrans" cxnId="{4F613857-ACB6-46DD-A522-418EE513EEF3}">
      <dgm:prSet/>
      <dgm:spPr/>
      <dgm:t>
        <a:bodyPr/>
        <a:lstStyle/>
        <a:p>
          <a:endParaRPr lang="id-ID"/>
        </a:p>
      </dgm:t>
    </dgm:pt>
    <dgm:pt modelId="{D632BDEA-6096-4FE3-BC41-2CF734959479}">
      <dgm:prSet phldrT="[Text]"/>
      <dgm:spPr/>
      <dgm:t>
        <a:bodyPr/>
        <a:lstStyle/>
        <a:p>
          <a:r>
            <a:rPr lang="id-ID" b="1" u="sng" dirty="0" smtClean="0"/>
            <a:t>PICKER</a:t>
          </a:r>
        </a:p>
        <a:p>
          <a:r>
            <a:rPr lang="id-ID" dirty="0" smtClean="0"/>
            <a:t>Pengambilan Barang Berdasarkan Picking (RFT)</a:t>
          </a:r>
          <a:endParaRPr lang="id-ID" dirty="0"/>
        </a:p>
      </dgm:t>
    </dgm:pt>
    <dgm:pt modelId="{CF0D920A-0321-402C-9226-68B15BA4CF3D}" type="parTrans" cxnId="{663066B0-3498-4F2B-8E5E-281F16F96CE4}">
      <dgm:prSet/>
      <dgm:spPr/>
      <dgm:t>
        <a:bodyPr/>
        <a:lstStyle/>
        <a:p>
          <a:endParaRPr lang="id-ID"/>
        </a:p>
      </dgm:t>
    </dgm:pt>
    <dgm:pt modelId="{3968A7AA-F259-4306-9647-5A6F8924A6B1}" type="sibTrans" cxnId="{663066B0-3498-4F2B-8E5E-281F16F96CE4}">
      <dgm:prSet/>
      <dgm:spPr/>
      <dgm:t>
        <a:bodyPr/>
        <a:lstStyle/>
        <a:p>
          <a:endParaRPr lang="id-ID"/>
        </a:p>
      </dgm:t>
    </dgm:pt>
    <dgm:pt modelId="{6FA90D57-4D5F-438E-ADA1-E97DD712117F}">
      <dgm:prSet phldrT="[Text]"/>
      <dgm:spPr>
        <a:solidFill>
          <a:schemeClr val="accent4"/>
        </a:solidFill>
      </dgm:spPr>
      <dgm:t>
        <a:bodyPr/>
        <a:lstStyle/>
        <a:p>
          <a:r>
            <a:rPr lang="id-ID" b="1" u="sng" dirty="0" smtClean="0"/>
            <a:t>PACKER</a:t>
          </a:r>
        </a:p>
        <a:p>
          <a:r>
            <a:rPr lang="id-ID" dirty="0" smtClean="0"/>
            <a:t>Proses Packing (RFT)</a:t>
          </a:r>
          <a:endParaRPr lang="id-ID" dirty="0"/>
        </a:p>
      </dgm:t>
    </dgm:pt>
    <dgm:pt modelId="{08368ECC-F651-49C4-A3DE-DCA8B26374B2}" type="parTrans" cxnId="{B2DB60C1-4875-4506-90DF-6C87BCF360E1}">
      <dgm:prSet/>
      <dgm:spPr/>
      <dgm:t>
        <a:bodyPr/>
        <a:lstStyle/>
        <a:p>
          <a:endParaRPr lang="id-ID"/>
        </a:p>
      </dgm:t>
    </dgm:pt>
    <dgm:pt modelId="{E3EE5DCB-9023-4792-9BB3-8B2FC5B30707}" type="sibTrans" cxnId="{B2DB60C1-4875-4506-90DF-6C87BCF360E1}">
      <dgm:prSet/>
      <dgm:spPr/>
      <dgm:t>
        <a:bodyPr/>
        <a:lstStyle/>
        <a:p>
          <a:endParaRPr lang="id-ID"/>
        </a:p>
      </dgm:t>
    </dgm:pt>
    <dgm:pt modelId="{DFA73250-F21D-44F0-9509-707022E8029E}">
      <dgm:prSet phldrT="[Text]"/>
      <dgm:spPr>
        <a:solidFill>
          <a:schemeClr val="accent3"/>
        </a:solidFill>
      </dgm:spPr>
      <dgm:t>
        <a:bodyPr/>
        <a:lstStyle/>
        <a:p>
          <a:r>
            <a:rPr lang="id-ID" b="1" u="sng" dirty="0" smtClean="0"/>
            <a:t>ADM. WH</a:t>
          </a:r>
        </a:p>
        <a:p>
          <a:r>
            <a:rPr lang="id-ID" dirty="0" smtClean="0"/>
            <a:t>Proses Good Issue</a:t>
          </a:r>
          <a:endParaRPr lang="id-ID" dirty="0"/>
        </a:p>
      </dgm:t>
    </dgm:pt>
    <dgm:pt modelId="{98C20026-DAD1-471C-83AF-4AF88CEAFD35}" type="parTrans" cxnId="{60E32C25-0F49-41AE-9AEC-D97313000083}">
      <dgm:prSet/>
      <dgm:spPr/>
      <dgm:t>
        <a:bodyPr/>
        <a:lstStyle/>
        <a:p>
          <a:endParaRPr lang="id-ID"/>
        </a:p>
      </dgm:t>
    </dgm:pt>
    <dgm:pt modelId="{4E91ED6E-95DA-4AA2-BB4B-8F595673B0B5}" type="sibTrans" cxnId="{60E32C25-0F49-41AE-9AEC-D97313000083}">
      <dgm:prSet/>
      <dgm:spPr/>
      <dgm:t>
        <a:bodyPr/>
        <a:lstStyle/>
        <a:p>
          <a:endParaRPr lang="id-ID"/>
        </a:p>
      </dgm:t>
    </dgm:pt>
    <dgm:pt modelId="{22AF0155-C013-4876-B76E-74D10FCACB74}">
      <dgm:prSet phldrT="[Text]"/>
      <dgm:spPr/>
      <dgm:t>
        <a:bodyPr/>
        <a:lstStyle/>
        <a:p>
          <a:endParaRPr lang="id-ID" b="1" u="sng" dirty="0" smtClean="0"/>
        </a:p>
        <a:p>
          <a:r>
            <a:rPr lang="id-ID" b="1" u="sng" dirty="0" smtClean="0"/>
            <a:t>ADM. SPARE PART</a:t>
          </a:r>
        </a:p>
        <a:p>
          <a:r>
            <a:rPr lang="id-ID" dirty="0" smtClean="0"/>
            <a:t>Cetak Faktur  </a:t>
          </a:r>
          <a:endParaRPr lang="id-ID" dirty="0"/>
        </a:p>
      </dgm:t>
    </dgm:pt>
    <dgm:pt modelId="{EE6CCB9B-16FE-40A9-8B9E-59F689DE7CD7}" type="parTrans" cxnId="{9BFA6A8C-7E52-4C1B-A300-ECD04B9554FB}">
      <dgm:prSet/>
      <dgm:spPr/>
      <dgm:t>
        <a:bodyPr/>
        <a:lstStyle/>
        <a:p>
          <a:endParaRPr lang="id-ID"/>
        </a:p>
      </dgm:t>
    </dgm:pt>
    <dgm:pt modelId="{3058E204-BB97-478F-BF80-9BE845ABAF22}" type="sibTrans" cxnId="{9BFA6A8C-7E52-4C1B-A300-ECD04B9554FB}">
      <dgm:prSet/>
      <dgm:spPr/>
      <dgm:t>
        <a:bodyPr/>
        <a:lstStyle/>
        <a:p>
          <a:endParaRPr lang="id-ID"/>
        </a:p>
      </dgm:t>
    </dgm:pt>
    <dgm:pt modelId="{50B1E4D1-5DBB-4E41-8852-890C89AA25F5}">
      <dgm:prSet phldrT="[Text]"/>
      <dgm:spPr/>
      <dgm:t>
        <a:bodyPr/>
        <a:lstStyle/>
        <a:p>
          <a:r>
            <a:rPr lang="id-ID" b="1" u="sng" dirty="0" smtClean="0"/>
            <a:t>ADM. WH</a:t>
          </a:r>
        </a:p>
        <a:p>
          <a:r>
            <a:rPr lang="id-ID" dirty="0" smtClean="0"/>
            <a:t>Cetak Surat Jalan </a:t>
          </a:r>
          <a:endParaRPr lang="id-ID" dirty="0"/>
        </a:p>
      </dgm:t>
    </dgm:pt>
    <dgm:pt modelId="{4682D993-C8CC-4347-8F55-716C6FE594BB}" type="parTrans" cxnId="{BE80F739-4610-4A98-8772-2BBB6DF4A803}">
      <dgm:prSet/>
      <dgm:spPr/>
      <dgm:t>
        <a:bodyPr/>
        <a:lstStyle/>
        <a:p>
          <a:endParaRPr lang="id-ID"/>
        </a:p>
      </dgm:t>
    </dgm:pt>
    <dgm:pt modelId="{ED75DF7B-F4FC-4CD6-8977-1C7799862178}" type="sibTrans" cxnId="{BE80F739-4610-4A98-8772-2BBB6DF4A803}">
      <dgm:prSet/>
      <dgm:spPr/>
      <dgm:t>
        <a:bodyPr/>
        <a:lstStyle/>
        <a:p>
          <a:endParaRPr lang="id-ID"/>
        </a:p>
      </dgm:t>
    </dgm:pt>
    <dgm:pt modelId="{B8D151F0-2750-4960-8C53-8479EC8E289B}">
      <dgm:prSet phldrT="[Text]"/>
      <dgm:spPr/>
      <dgm:t>
        <a:bodyPr/>
        <a:lstStyle/>
        <a:p>
          <a:r>
            <a:rPr lang="id-ID" b="1" u="sng" dirty="0" smtClean="0"/>
            <a:t>SHIPPER</a:t>
          </a:r>
        </a:p>
        <a:p>
          <a:r>
            <a:rPr lang="id-ID" dirty="0" smtClean="0"/>
            <a:t>Distribusi Barang </a:t>
          </a:r>
          <a:endParaRPr lang="id-ID" dirty="0"/>
        </a:p>
      </dgm:t>
    </dgm:pt>
    <dgm:pt modelId="{693E484C-D471-4D7B-AFAB-13F23F19F11F}" type="parTrans" cxnId="{13518649-2BD0-4331-B5FE-7117F72456AE}">
      <dgm:prSet/>
      <dgm:spPr/>
      <dgm:t>
        <a:bodyPr/>
        <a:lstStyle/>
        <a:p>
          <a:endParaRPr lang="id-ID"/>
        </a:p>
      </dgm:t>
    </dgm:pt>
    <dgm:pt modelId="{D52AEB64-5760-4646-8001-F5C56AEABB59}" type="sibTrans" cxnId="{13518649-2BD0-4331-B5FE-7117F72456AE}">
      <dgm:prSet/>
      <dgm:spPr/>
      <dgm:t>
        <a:bodyPr/>
        <a:lstStyle/>
        <a:p>
          <a:endParaRPr lang="id-ID"/>
        </a:p>
      </dgm:t>
    </dgm:pt>
    <dgm:pt modelId="{D1237A17-748E-46CD-9804-12285CB4492B}" type="pres">
      <dgm:prSet presAssocID="{03B111CD-35E6-4CAF-9844-D93AB8F0018C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id-ID"/>
        </a:p>
      </dgm:t>
    </dgm:pt>
    <dgm:pt modelId="{84F5FC60-FCC3-4C61-ACF9-AD9476E42940}" type="pres">
      <dgm:prSet presAssocID="{53AB8C23-4DE9-46EF-AAF1-791E76A4B447}" presName="compNode" presStyleCnt="0"/>
      <dgm:spPr/>
    </dgm:pt>
    <dgm:pt modelId="{488CEDC1-2EC0-4C79-AB6F-2C8A1F9C307E}" type="pres">
      <dgm:prSet presAssocID="{53AB8C23-4DE9-46EF-AAF1-791E76A4B447}" presName="dummyConnPt" presStyleCnt="0"/>
      <dgm:spPr/>
    </dgm:pt>
    <dgm:pt modelId="{E824C972-634F-4CA4-8ADD-54DB7FFA0675}" type="pres">
      <dgm:prSet presAssocID="{53AB8C23-4DE9-46EF-AAF1-791E76A4B447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701044CC-2716-4B19-81A0-6BD27F2C6E59}" type="pres">
      <dgm:prSet presAssocID="{080C5BB6-D2EA-4EDE-B41F-A3A00CCA4DE0}" presName="sibTrans" presStyleLbl="bgSibTrans2D1" presStyleIdx="0" presStyleCnt="7" custLinFactNeighborX="36744"/>
      <dgm:spPr/>
      <dgm:t>
        <a:bodyPr/>
        <a:lstStyle/>
        <a:p>
          <a:endParaRPr lang="id-ID"/>
        </a:p>
      </dgm:t>
    </dgm:pt>
    <dgm:pt modelId="{3852C2CE-A017-411D-A2F4-6FD32D4F99F0}" type="pres">
      <dgm:prSet presAssocID="{1B9E8465-99DB-4323-B6A2-09F541EDCAFF}" presName="compNode" presStyleCnt="0"/>
      <dgm:spPr/>
    </dgm:pt>
    <dgm:pt modelId="{C79C01AA-A423-485D-9F00-925D78D342B0}" type="pres">
      <dgm:prSet presAssocID="{1B9E8465-99DB-4323-B6A2-09F541EDCAFF}" presName="dummyConnPt" presStyleCnt="0"/>
      <dgm:spPr/>
    </dgm:pt>
    <dgm:pt modelId="{557362AA-14CA-4AF8-A128-F3EE01328637}" type="pres">
      <dgm:prSet presAssocID="{1B9E8465-99DB-4323-B6A2-09F541EDCAFF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AAF9BF7A-021B-4F08-A387-65807206550F}" type="pres">
      <dgm:prSet presAssocID="{1DCE693F-B02E-4C4F-B4BC-A29B82A01BBC}" presName="sibTrans" presStyleLbl="bgSibTrans2D1" presStyleIdx="1" presStyleCnt="7" custLinFactNeighborX="36744"/>
      <dgm:spPr/>
      <dgm:t>
        <a:bodyPr/>
        <a:lstStyle/>
        <a:p>
          <a:endParaRPr lang="id-ID"/>
        </a:p>
      </dgm:t>
    </dgm:pt>
    <dgm:pt modelId="{24607A38-8EED-4A68-8AB2-78A2641B7B1D}" type="pres">
      <dgm:prSet presAssocID="{D632BDEA-6096-4FE3-BC41-2CF734959479}" presName="compNode" presStyleCnt="0"/>
      <dgm:spPr/>
    </dgm:pt>
    <dgm:pt modelId="{D600AC19-CBBE-4CB9-890A-B15E6B37CE1F}" type="pres">
      <dgm:prSet presAssocID="{D632BDEA-6096-4FE3-BC41-2CF734959479}" presName="dummyConnPt" presStyleCnt="0"/>
      <dgm:spPr/>
    </dgm:pt>
    <dgm:pt modelId="{DE865DAD-18AE-4EC7-AEF8-F7E744AB1BE1}" type="pres">
      <dgm:prSet presAssocID="{D632BDEA-6096-4FE3-BC41-2CF734959479}" presName="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7660EA2D-93FD-4937-BA75-CDF15F5B0CA7}" type="pres">
      <dgm:prSet presAssocID="{3968A7AA-F259-4306-9647-5A6F8924A6B1}" presName="sibTrans" presStyleLbl="bgSibTrans2D1" presStyleIdx="2" presStyleCnt="7" custLinFactY="85090" custLinFactNeighborY="100000"/>
      <dgm:spPr/>
      <dgm:t>
        <a:bodyPr/>
        <a:lstStyle/>
        <a:p>
          <a:endParaRPr lang="id-ID"/>
        </a:p>
      </dgm:t>
    </dgm:pt>
    <dgm:pt modelId="{4E889F11-2BA1-42B3-8FBB-B9C362324999}" type="pres">
      <dgm:prSet presAssocID="{6FA90D57-4D5F-438E-ADA1-E97DD712117F}" presName="compNode" presStyleCnt="0"/>
      <dgm:spPr/>
    </dgm:pt>
    <dgm:pt modelId="{9A625B4E-3E21-4C15-8EA9-19D08370C835}" type="pres">
      <dgm:prSet presAssocID="{6FA90D57-4D5F-438E-ADA1-E97DD712117F}" presName="dummyConnPt" presStyleCnt="0"/>
      <dgm:spPr/>
    </dgm:pt>
    <dgm:pt modelId="{A5140440-254D-424D-86F1-9AD8D5FD19EF}" type="pres">
      <dgm:prSet presAssocID="{6FA90D57-4D5F-438E-ADA1-E97DD712117F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E4640DE5-531D-420F-A801-6293E3CE5327}" type="pres">
      <dgm:prSet presAssocID="{E3EE5DCB-9023-4792-9BB3-8B2FC5B30707}" presName="sibTrans" presStyleLbl="bgSibTrans2D1" presStyleIdx="3" presStyleCnt="7" custLinFactNeighborX="36002"/>
      <dgm:spPr/>
      <dgm:t>
        <a:bodyPr/>
        <a:lstStyle/>
        <a:p>
          <a:endParaRPr lang="id-ID"/>
        </a:p>
      </dgm:t>
    </dgm:pt>
    <dgm:pt modelId="{6EC97686-CF2D-45F2-BD60-46C9E5D0EB9E}" type="pres">
      <dgm:prSet presAssocID="{DFA73250-F21D-44F0-9509-707022E8029E}" presName="compNode" presStyleCnt="0"/>
      <dgm:spPr/>
    </dgm:pt>
    <dgm:pt modelId="{2F870216-42E1-48F4-A0A1-4F66B678EC62}" type="pres">
      <dgm:prSet presAssocID="{DFA73250-F21D-44F0-9509-707022E8029E}" presName="dummyConnPt" presStyleCnt="0"/>
      <dgm:spPr/>
    </dgm:pt>
    <dgm:pt modelId="{FE56E677-8836-45B1-ADD9-793038510AB9}" type="pres">
      <dgm:prSet presAssocID="{DFA73250-F21D-44F0-9509-707022E8029E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10E6919C-D3EE-4192-B52F-F051CD3078A0}" type="pres">
      <dgm:prSet presAssocID="{4E91ED6E-95DA-4AA2-BB4B-8F595673B0B5}" presName="sibTrans" presStyleLbl="bgSibTrans2D1" presStyleIdx="4" presStyleCnt="7" custLinFactNeighborX="36002"/>
      <dgm:spPr/>
      <dgm:t>
        <a:bodyPr/>
        <a:lstStyle/>
        <a:p>
          <a:endParaRPr lang="id-ID"/>
        </a:p>
      </dgm:t>
    </dgm:pt>
    <dgm:pt modelId="{21BC0A85-81A1-40FD-BFF1-EEBB04B3B2BA}" type="pres">
      <dgm:prSet presAssocID="{22AF0155-C013-4876-B76E-74D10FCACB74}" presName="compNode" presStyleCnt="0"/>
      <dgm:spPr/>
    </dgm:pt>
    <dgm:pt modelId="{BD474397-C6EC-4824-933B-DEC8CB3C3FF1}" type="pres">
      <dgm:prSet presAssocID="{22AF0155-C013-4876-B76E-74D10FCACB74}" presName="dummyConnPt" presStyleCnt="0"/>
      <dgm:spPr/>
    </dgm:pt>
    <dgm:pt modelId="{D3228FCD-484C-4CE6-8895-DB9CB66C69AA}" type="pres">
      <dgm:prSet presAssocID="{22AF0155-C013-4876-B76E-74D10FCACB74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64645181-6A8D-4F17-B2EF-247CAE8BE5E3}" type="pres">
      <dgm:prSet presAssocID="{3058E204-BB97-478F-BF80-9BE845ABAF22}" presName="sibTrans" presStyleLbl="bgSibTrans2D1" presStyleIdx="5" presStyleCnt="7" custLinFactY="72229" custLinFactNeighborY="100000"/>
      <dgm:spPr/>
      <dgm:t>
        <a:bodyPr/>
        <a:lstStyle/>
        <a:p>
          <a:endParaRPr lang="id-ID"/>
        </a:p>
      </dgm:t>
    </dgm:pt>
    <dgm:pt modelId="{2FC1519C-A88B-4337-964E-ED6FAA270456}" type="pres">
      <dgm:prSet presAssocID="{50B1E4D1-5DBB-4E41-8852-890C89AA25F5}" presName="compNode" presStyleCnt="0"/>
      <dgm:spPr/>
    </dgm:pt>
    <dgm:pt modelId="{DCDE396E-63F3-4E69-BCCA-1CE5BECE9016}" type="pres">
      <dgm:prSet presAssocID="{50B1E4D1-5DBB-4E41-8852-890C89AA25F5}" presName="dummyConnPt" presStyleCnt="0"/>
      <dgm:spPr/>
    </dgm:pt>
    <dgm:pt modelId="{D8E269EF-0D5D-400D-B083-2E2176AFA79F}" type="pres">
      <dgm:prSet presAssocID="{50B1E4D1-5DBB-4E41-8852-890C89AA25F5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D4B563E9-9FBF-4E6A-A3F2-7D49371EBDBA}" type="pres">
      <dgm:prSet presAssocID="{ED75DF7B-F4FC-4CD6-8977-1C7799862178}" presName="sibTrans" presStyleLbl="bgSibTrans2D1" presStyleIdx="6" presStyleCnt="7" custLinFactNeighborX="36002"/>
      <dgm:spPr/>
      <dgm:t>
        <a:bodyPr/>
        <a:lstStyle/>
        <a:p>
          <a:endParaRPr lang="id-ID"/>
        </a:p>
      </dgm:t>
    </dgm:pt>
    <dgm:pt modelId="{BAEB0670-9AB0-4F9B-A765-113316001A8A}" type="pres">
      <dgm:prSet presAssocID="{B8D151F0-2750-4960-8C53-8479EC8E289B}" presName="compNode" presStyleCnt="0"/>
      <dgm:spPr/>
    </dgm:pt>
    <dgm:pt modelId="{A6FAB69F-2040-47C1-A03A-F3E4A9AF6B9A}" type="pres">
      <dgm:prSet presAssocID="{B8D151F0-2750-4960-8C53-8479EC8E289B}" presName="dummyConnPt" presStyleCnt="0"/>
      <dgm:spPr/>
    </dgm:pt>
    <dgm:pt modelId="{B7D6E590-3667-410E-AF95-3ADDB7F41279}" type="pres">
      <dgm:prSet presAssocID="{B8D151F0-2750-4960-8C53-8479EC8E289B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</dgm:ptLst>
  <dgm:cxnLst>
    <dgm:cxn modelId="{D782E909-269E-4F68-BCF7-40F50CA8FE47}" type="presOf" srcId="{3968A7AA-F259-4306-9647-5A6F8924A6B1}" destId="{7660EA2D-93FD-4937-BA75-CDF15F5B0CA7}" srcOrd="0" destOrd="0" presId="urn:microsoft.com/office/officeart/2005/8/layout/bProcess4"/>
    <dgm:cxn modelId="{7E14DB57-99A5-4C30-A701-1C6DCF63D3D2}" type="presOf" srcId="{53AB8C23-4DE9-46EF-AAF1-791E76A4B447}" destId="{E824C972-634F-4CA4-8ADD-54DB7FFA0675}" srcOrd="0" destOrd="0" presId="urn:microsoft.com/office/officeart/2005/8/layout/bProcess4"/>
    <dgm:cxn modelId="{33CE15F0-F9E1-498C-95DD-682C9829FD20}" type="presOf" srcId="{D632BDEA-6096-4FE3-BC41-2CF734959479}" destId="{DE865DAD-18AE-4EC7-AEF8-F7E744AB1BE1}" srcOrd="0" destOrd="0" presId="urn:microsoft.com/office/officeart/2005/8/layout/bProcess4"/>
    <dgm:cxn modelId="{13518649-2BD0-4331-B5FE-7117F72456AE}" srcId="{03B111CD-35E6-4CAF-9844-D93AB8F0018C}" destId="{B8D151F0-2750-4960-8C53-8479EC8E289B}" srcOrd="7" destOrd="0" parTransId="{693E484C-D471-4D7B-AFAB-13F23F19F11F}" sibTransId="{D52AEB64-5760-4646-8001-F5C56AEABB59}"/>
    <dgm:cxn modelId="{08BB50CB-291B-4D66-9AFD-330EF43AC73E}" srcId="{03B111CD-35E6-4CAF-9844-D93AB8F0018C}" destId="{53AB8C23-4DE9-46EF-AAF1-791E76A4B447}" srcOrd="0" destOrd="0" parTransId="{8DEAC635-24F5-4151-B075-0B0041C397DB}" sibTransId="{080C5BB6-D2EA-4EDE-B41F-A3A00CCA4DE0}"/>
    <dgm:cxn modelId="{5D0FEB24-4A5F-4DBD-9BAF-9CAE1D4D3E8F}" type="presOf" srcId="{4E91ED6E-95DA-4AA2-BB4B-8F595673B0B5}" destId="{10E6919C-D3EE-4192-B52F-F051CD3078A0}" srcOrd="0" destOrd="0" presId="urn:microsoft.com/office/officeart/2005/8/layout/bProcess4"/>
    <dgm:cxn modelId="{D9FE9C1E-6911-4B8F-B1D8-919A7FC5F654}" type="presOf" srcId="{22AF0155-C013-4876-B76E-74D10FCACB74}" destId="{D3228FCD-484C-4CE6-8895-DB9CB66C69AA}" srcOrd="0" destOrd="0" presId="urn:microsoft.com/office/officeart/2005/8/layout/bProcess4"/>
    <dgm:cxn modelId="{B2DB60C1-4875-4506-90DF-6C87BCF360E1}" srcId="{03B111CD-35E6-4CAF-9844-D93AB8F0018C}" destId="{6FA90D57-4D5F-438E-ADA1-E97DD712117F}" srcOrd="3" destOrd="0" parTransId="{08368ECC-F651-49C4-A3DE-DCA8B26374B2}" sibTransId="{E3EE5DCB-9023-4792-9BB3-8B2FC5B30707}"/>
    <dgm:cxn modelId="{9BFA6A8C-7E52-4C1B-A300-ECD04B9554FB}" srcId="{03B111CD-35E6-4CAF-9844-D93AB8F0018C}" destId="{22AF0155-C013-4876-B76E-74D10FCACB74}" srcOrd="5" destOrd="0" parTransId="{EE6CCB9B-16FE-40A9-8B9E-59F689DE7CD7}" sibTransId="{3058E204-BB97-478F-BF80-9BE845ABAF22}"/>
    <dgm:cxn modelId="{84B6A9DA-1566-4CBD-8DC1-F8C218BB582E}" type="presOf" srcId="{ED75DF7B-F4FC-4CD6-8977-1C7799862178}" destId="{D4B563E9-9FBF-4E6A-A3F2-7D49371EBDBA}" srcOrd="0" destOrd="0" presId="urn:microsoft.com/office/officeart/2005/8/layout/bProcess4"/>
    <dgm:cxn modelId="{BE80F739-4610-4A98-8772-2BBB6DF4A803}" srcId="{03B111CD-35E6-4CAF-9844-D93AB8F0018C}" destId="{50B1E4D1-5DBB-4E41-8852-890C89AA25F5}" srcOrd="6" destOrd="0" parTransId="{4682D993-C8CC-4347-8F55-716C6FE594BB}" sibTransId="{ED75DF7B-F4FC-4CD6-8977-1C7799862178}"/>
    <dgm:cxn modelId="{35FFF3DB-4EE7-45E2-AB70-08E789AB4E39}" type="presOf" srcId="{E3EE5DCB-9023-4792-9BB3-8B2FC5B30707}" destId="{E4640DE5-531D-420F-A801-6293E3CE5327}" srcOrd="0" destOrd="0" presId="urn:microsoft.com/office/officeart/2005/8/layout/bProcess4"/>
    <dgm:cxn modelId="{3361701F-6114-492E-B1C1-EBC95FEA45A1}" type="presOf" srcId="{DFA73250-F21D-44F0-9509-707022E8029E}" destId="{FE56E677-8836-45B1-ADD9-793038510AB9}" srcOrd="0" destOrd="0" presId="urn:microsoft.com/office/officeart/2005/8/layout/bProcess4"/>
    <dgm:cxn modelId="{73917C43-7ABB-4E7C-8CFB-F2A479861A15}" type="presOf" srcId="{50B1E4D1-5DBB-4E41-8852-890C89AA25F5}" destId="{D8E269EF-0D5D-400D-B083-2E2176AFA79F}" srcOrd="0" destOrd="0" presId="urn:microsoft.com/office/officeart/2005/8/layout/bProcess4"/>
    <dgm:cxn modelId="{60E32C25-0F49-41AE-9AEC-D97313000083}" srcId="{03B111CD-35E6-4CAF-9844-D93AB8F0018C}" destId="{DFA73250-F21D-44F0-9509-707022E8029E}" srcOrd="4" destOrd="0" parTransId="{98C20026-DAD1-471C-83AF-4AF88CEAFD35}" sibTransId="{4E91ED6E-95DA-4AA2-BB4B-8F595673B0B5}"/>
    <dgm:cxn modelId="{663066B0-3498-4F2B-8E5E-281F16F96CE4}" srcId="{03B111CD-35E6-4CAF-9844-D93AB8F0018C}" destId="{D632BDEA-6096-4FE3-BC41-2CF734959479}" srcOrd="2" destOrd="0" parTransId="{CF0D920A-0321-402C-9226-68B15BA4CF3D}" sibTransId="{3968A7AA-F259-4306-9647-5A6F8924A6B1}"/>
    <dgm:cxn modelId="{98BD7604-2063-4DBF-824B-80186D0C0424}" type="presOf" srcId="{3058E204-BB97-478F-BF80-9BE845ABAF22}" destId="{64645181-6A8D-4F17-B2EF-247CAE8BE5E3}" srcOrd="0" destOrd="0" presId="urn:microsoft.com/office/officeart/2005/8/layout/bProcess4"/>
    <dgm:cxn modelId="{8D7A86CB-F81F-4358-88A5-A43A40B203B1}" type="presOf" srcId="{080C5BB6-D2EA-4EDE-B41F-A3A00CCA4DE0}" destId="{701044CC-2716-4B19-81A0-6BD27F2C6E59}" srcOrd="0" destOrd="0" presId="urn:microsoft.com/office/officeart/2005/8/layout/bProcess4"/>
    <dgm:cxn modelId="{FBB5D341-E895-4910-ACA6-B19F6EAFBF26}" type="presOf" srcId="{1DCE693F-B02E-4C4F-B4BC-A29B82A01BBC}" destId="{AAF9BF7A-021B-4F08-A387-65807206550F}" srcOrd="0" destOrd="0" presId="urn:microsoft.com/office/officeart/2005/8/layout/bProcess4"/>
    <dgm:cxn modelId="{9AAA0F2C-773F-4A65-A9F2-F96A41F33C26}" type="presOf" srcId="{1B9E8465-99DB-4323-B6A2-09F541EDCAFF}" destId="{557362AA-14CA-4AF8-A128-F3EE01328637}" srcOrd="0" destOrd="0" presId="urn:microsoft.com/office/officeart/2005/8/layout/bProcess4"/>
    <dgm:cxn modelId="{E5EE87D3-5FD5-4FC1-90C6-E0CDBDED4A52}" type="presOf" srcId="{B8D151F0-2750-4960-8C53-8479EC8E289B}" destId="{B7D6E590-3667-410E-AF95-3ADDB7F41279}" srcOrd="0" destOrd="0" presId="urn:microsoft.com/office/officeart/2005/8/layout/bProcess4"/>
    <dgm:cxn modelId="{6954668F-0296-442E-BD94-36C37407EB16}" type="presOf" srcId="{6FA90D57-4D5F-438E-ADA1-E97DD712117F}" destId="{A5140440-254D-424D-86F1-9AD8D5FD19EF}" srcOrd="0" destOrd="0" presId="urn:microsoft.com/office/officeart/2005/8/layout/bProcess4"/>
    <dgm:cxn modelId="{003B55B5-E96E-4754-A3EE-62824B3F12C6}" type="presOf" srcId="{03B111CD-35E6-4CAF-9844-D93AB8F0018C}" destId="{D1237A17-748E-46CD-9804-12285CB4492B}" srcOrd="0" destOrd="0" presId="urn:microsoft.com/office/officeart/2005/8/layout/bProcess4"/>
    <dgm:cxn modelId="{4F613857-ACB6-46DD-A522-418EE513EEF3}" srcId="{03B111CD-35E6-4CAF-9844-D93AB8F0018C}" destId="{1B9E8465-99DB-4323-B6A2-09F541EDCAFF}" srcOrd="1" destOrd="0" parTransId="{F30C772C-CC9F-48D9-A272-D83A45597516}" sibTransId="{1DCE693F-B02E-4C4F-B4BC-A29B82A01BBC}"/>
    <dgm:cxn modelId="{9BC17CDF-836E-42D2-92AE-C1C1C6576798}" type="presParOf" srcId="{D1237A17-748E-46CD-9804-12285CB4492B}" destId="{84F5FC60-FCC3-4C61-ACF9-AD9476E42940}" srcOrd="0" destOrd="0" presId="urn:microsoft.com/office/officeart/2005/8/layout/bProcess4"/>
    <dgm:cxn modelId="{02DF4260-A8E2-4E82-B75E-4979B81B9D2E}" type="presParOf" srcId="{84F5FC60-FCC3-4C61-ACF9-AD9476E42940}" destId="{488CEDC1-2EC0-4C79-AB6F-2C8A1F9C307E}" srcOrd="0" destOrd="0" presId="urn:microsoft.com/office/officeart/2005/8/layout/bProcess4"/>
    <dgm:cxn modelId="{19097B9A-3D75-49B3-A6D8-5D24793856E9}" type="presParOf" srcId="{84F5FC60-FCC3-4C61-ACF9-AD9476E42940}" destId="{E824C972-634F-4CA4-8ADD-54DB7FFA0675}" srcOrd="1" destOrd="0" presId="urn:microsoft.com/office/officeart/2005/8/layout/bProcess4"/>
    <dgm:cxn modelId="{455A16AB-5615-4E99-8538-D0DDF75C4B2E}" type="presParOf" srcId="{D1237A17-748E-46CD-9804-12285CB4492B}" destId="{701044CC-2716-4B19-81A0-6BD27F2C6E59}" srcOrd="1" destOrd="0" presId="urn:microsoft.com/office/officeart/2005/8/layout/bProcess4"/>
    <dgm:cxn modelId="{BDBB85AC-237F-47BC-A3E9-EBA301E65B3F}" type="presParOf" srcId="{D1237A17-748E-46CD-9804-12285CB4492B}" destId="{3852C2CE-A017-411D-A2F4-6FD32D4F99F0}" srcOrd="2" destOrd="0" presId="urn:microsoft.com/office/officeart/2005/8/layout/bProcess4"/>
    <dgm:cxn modelId="{9DB994BA-7C51-42B0-BDBA-82025BF64215}" type="presParOf" srcId="{3852C2CE-A017-411D-A2F4-6FD32D4F99F0}" destId="{C79C01AA-A423-485D-9F00-925D78D342B0}" srcOrd="0" destOrd="0" presId="urn:microsoft.com/office/officeart/2005/8/layout/bProcess4"/>
    <dgm:cxn modelId="{4A7BF551-8B9D-424B-82EF-DD36FED565B3}" type="presParOf" srcId="{3852C2CE-A017-411D-A2F4-6FD32D4F99F0}" destId="{557362AA-14CA-4AF8-A128-F3EE01328637}" srcOrd="1" destOrd="0" presId="urn:microsoft.com/office/officeart/2005/8/layout/bProcess4"/>
    <dgm:cxn modelId="{4087E240-648C-43B9-8613-0BF665A486F3}" type="presParOf" srcId="{D1237A17-748E-46CD-9804-12285CB4492B}" destId="{AAF9BF7A-021B-4F08-A387-65807206550F}" srcOrd="3" destOrd="0" presId="urn:microsoft.com/office/officeart/2005/8/layout/bProcess4"/>
    <dgm:cxn modelId="{B0CFEAB2-53C9-4121-975D-89FF4B8CF046}" type="presParOf" srcId="{D1237A17-748E-46CD-9804-12285CB4492B}" destId="{24607A38-8EED-4A68-8AB2-78A2641B7B1D}" srcOrd="4" destOrd="0" presId="urn:microsoft.com/office/officeart/2005/8/layout/bProcess4"/>
    <dgm:cxn modelId="{E782026B-D0AD-417C-A2B9-65A5058E7685}" type="presParOf" srcId="{24607A38-8EED-4A68-8AB2-78A2641B7B1D}" destId="{D600AC19-CBBE-4CB9-890A-B15E6B37CE1F}" srcOrd="0" destOrd="0" presId="urn:microsoft.com/office/officeart/2005/8/layout/bProcess4"/>
    <dgm:cxn modelId="{6C78D031-DEB2-4BCB-990A-3401E3884818}" type="presParOf" srcId="{24607A38-8EED-4A68-8AB2-78A2641B7B1D}" destId="{DE865DAD-18AE-4EC7-AEF8-F7E744AB1BE1}" srcOrd="1" destOrd="0" presId="urn:microsoft.com/office/officeart/2005/8/layout/bProcess4"/>
    <dgm:cxn modelId="{6221074C-832D-4A81-A52A-6386BFC2E9DB}" type="presParOf" srcId="{D1237A17-748E-46CD-9804-12285CB4492B}" destId="{7660EA2D-93FD-4937-BA75-CDF15F5B0CA7}" srcOrd="5" destOrd="0" presId="urn:microsoft.com/office/officeart/2005/8/layout/bProcess4"/>
    <dgm:cxn modelId="{EDF55C1A-EFC2-4E13-881E-88D392D5D814}" type="presParOf" srcId="{D1237A17-748E-46CD-9804-12285CB4492B}" destId="{4E889F11-2BA1-42B3-8FBB-B9C362324999}" srcOrd="6" destOrd="0" presId="urn:microsoft.com/office/officeart/2005/8/layout/bProcess4"/>
    <dgm:cxn modelId="{A7DA365C-6D46-49C2-9D55-B9558DD7952F}" type="presParOf" srcId="{4E889F11-2BA1-42B3-8FBB-B9C362324999}" destId="{9A625B4E-3E21-4C15-8EA9-19D08370C835}" srcOrd="0" destOrd="0" presId="urn:microsoft.com/office/officeart/2005/8/layout/bProcess4"/>
    <dgm:cxn modelId="{C9A1401C-6B6A-4CFD-9926-51AE7653530F}" type="presParOf" srcId="{4E889F11-2BA1-42B3-8FBB-B9C362324999}" destId="{A5140440-254D-424D-86F1-9AD8D5FD19EF}" srcOrd="1" destOrd="0" presId="urn:microsoft.com/office/officeart/2005/8/layout/bProcess4"/>
    <dgm:cxn modelId="{C7A1CEC2-F2E4-46E4-8B6D-67CC69FC5C93}" type="presParOf" srcId="{D1237A17-748E-46CD-9804-12285CB4492B}" destId="{E4640DE5-531D-420F-A801-6293E3CE5327}" srcOrd="7" destOrd="0" presId="urn:microsoft.com/office/officeart/2005/8/layout/bProcess4"/>
    <dgm:cxn modelId="{C10E0B75-D52D-426A-8D9D-B9ACEEBECB6C}" type="presParOf" srcId="{D1237A17-748E-46CD-9804-12285CB4492B}" destId="{6EC97686-CF2D-45F2-BD60-46C9E5D0EB9E}" srcOrd="8" destOrd="0" presId="urn:microsoft.com/office/officeart/2005/8/layout/bProcess4"/>
    <dgm:cxn modelId="{AF7E2DD3-E251-4DB0-A880-C9EA0C8A2462}" type="presParOf" srcId="{6EC97686-CF2D-45F2-BD60-46C9E5D0EB9E}" destId="{2F870216-42E1-48F4-A0A1-4F66B678EC62}" srcOrd="0" destOrd="0" presId="urn:microsoft.com/office/officeart/2005/8/layout/bProcess4"/>
    <dgm:cxn modelId="{5C1D9C0A-DF69-450B-A246-6830D459C32C}" type="presParOf" srcId="{6EC97686-CF2D-45F2-BD60-46C9E5D0EB9E}" destId="{FE56E677-8836-45B1-ADD9-793038510AB9}" srcOrd="1" destOrd="0" presId="urn:microsoft.com/office/officeart/2005/8/layout/bProcess4"/>
    <dgm:cxn modelId="{4207592B-9B91-456C-83F8-6840A7BEDC7E}" type="presParOf" srcId="{D1237A17-748E-46CD-9804-12285CB4492B}" destId="{10E6919C-D3EE-4192-B52F-F051CD3078A0}" srcOrd="9" destOrd="0" presId="urn:microsoft.com/office/officeart/2005/8/layout/bProcess4"/>
    <dgm:cxn modelId="{45607479-4F0A-4260-923B-49130B57D49D}" type="presParOf" srcId="{D1237A17-748E-46CD-9804-12285CB4492B}" destId="{21BC0A85-81A1-40FD-BFF1-EEBB04B3B2BA}" srcOrd="10" destOrd="0" presId="urn:microsoft.com/office/officeart/2005/8/layout/bProcess4"/>
    <dgm:cxn modelId="{1EB7A2FB-B989-4851-B80F-A7F9FFD943E9}" type="presParOf" srcId="{21BC0A85-81A1-40FD-BFF1-EEBB04B3B2BA}" destId="{BD474397-C6EC-4824-933B-DEC8CB3C3FF1}" srcOrd="0" destOrd="0" presId="urn:microsoft.com/office/officeart/2005/8/layout/bProcess4"/>
    <dgm:cxn modelId="{FFC3E1ED-044D-4422-A772-7D2264549C15}" type="presParOf" srcId="{21BC0A85-81A1-40FD-BFF1-EEBB04B3B2BA}" destId="{D3228FCD-484C-4CE6-8895-DB9CB66C69AA}" srcOrd="1" destOrd="0" presId="urn:microsoft.com/office/officeart/2005/8/layout/bProcess4"/>
    <dgm:cxn modelId="{40191BAB-17D1-4989-B24A-1812604DAC33}" type="presParOf" srcId="{D1237A17-748E-46CD-9804-12285CB4492B}" destId="{64645181-6A8D-4F17-B2EF-247CAE8BE5E3}" srcOrd="11" destOrd="0" presId="urn:microsoft.com/office/officeart/2005/8/layout/bProcess4"/>
    <dgm:cxn modelId="{A8CD71BA-4EA0-4B57-AEB0-DA21921CA7E6}" type="presParOf" srcId="{D1237A17-748E-46CD-9804-12285CB4492B}" destId="{2FC1519C-A88B-4337-964E-ED6FAA270456}" srcOrd="12" destOrd="0" presId="urn:microsoft.com/office/officeart/2005/8/layout/bProcess4"/>
    <dgm:cxn modelId="{0F8D9A13-34C1-43B4-A240-BA5AD916C372}" type="presParOf" srcId="{2FC1519C-A88B-4337-964E-ED6FAA270456}" destId="{DCDE396E-63F3-4E69-BCCA-1CE5BECE9016}" srcOrd="0" destOrd="0" presId="urn:microsoft.com/office/officeart/2005/8/layout/bProcess4"/>
    <dgm:cxn modelId="{028037EA-006C-464D-9E4A-4BDA8CA11F9D}" type="presParOf" srcId="{2FC1519C-A88B-4337-964E-ED6FAA270456}" destId="{D8E269EF-0D5D-400D-B083-2E2176AFA79F}" srcOrd="1" destOrd="0" presId="urn:microsoft.com/office/officeart/2005/8/layout/bProcess4"/>
    <dgm:cxn modelId="{60118CE1-DAC0-48C9-AA89-B58B86DDB70B}" type="presParOf" srcId="{D1237A17-748E-46CD-9804-12285CB4492B}" destId="{D4B563E9-9FBF-4E6A-A3F2-7D49371EBDBA}" srcOrd="13" destOrd="0" presId="urn:microsoft.com/office/officeart/2005/8/layout/bProcess4"/>
    <dgm:cxn modelId="{03B15B9E-AF00-4EC1-AC0A-E15B79447E43}" type="presParOf" srcId="{D1237A17-748E-46CD-9804-12285CB4492B}" destId="{BAEB0670-9AB0-4F9B-A765-113316001A8A}" srcOrd="14" destOrd="0" presId="urn:microsoft.com/office/officeart/2005/8/layout/bProcess4"/>
    <dgm:cxn modelId="{97544C4E-FB78-4606-B85D-D55525DFA4F0}" type="presParOf" srcId="{BAEB0670-9AB0-4F9B-A765-113316001A8A}" destId="{A6FAB69F-2040-47C1-A03A-F3E4A9AF6B9A}" srcOrd="0" destOrd="0" presId="urn:microsoft.com/office/officeart/2005/8/layout/bProcess4"/>
    <dgm:cxn modelId="{3BAE7D19-F8F1-4357-9F7F-3EF434E628FD}" type="presParOf" srcId="{BAEB0670-9AB0-4F9B-A765-113316001A8A}" destId="{B7D6E590-3667-410E-AF95-3ADDB7F41279}" srcOrd="1" destOrd="0" presId="urn:microsoft.com/office/officeart/2005/8/layout/bProcess4"/>
  </dgm:cxnLst>
  <dgm:bg/>
  <dgm:whole/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5A4190F-3E68-4815-AEFA-BEF2950D03C0}" type="doc">
      <dgm:prSet loTypeId="urn:microsoft.com/office/officeart/2005/8/layout/vList4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id-ID"/>
        </a:p>
      </dgm:t>
    </dgm:pt>
    <dgm:pt modelId="{175BDC0C-C9D1-4445-8F9C-449C54DFB78D}">
      <dgm:prSet phldrT="[Text]" custT="1"/>
      <dgm:spPr/>
      <dgm:t>
        <a:bodyPr/>
        <a:lstStyle/>
        <a:p>
          <a:r>
            <a:rPr lang="id-ID" sz="2400" b="1" dirty="0" smtClean="0"/>
            <a:t>Bin Box</a:t>
          </a:r>
          <a:endParaRPr lang="id-ID" sz="2400" b="1" dirty="0"/>
        </a:p>
      </dgm:t>
    </dgm:pt>
    <dgm:pt modelId="{90AAF738-7272-4E0C-BDC5-44AED36F76F6}" type="parTrans" cxnId="{31E7DEFD-3E92-420B-897E-08B1CC4EBC4A}">
      <dgm:prSet/>
      <dgm:spPr/>
      <dgm:t>
        <a:bodyPr/>
        <a:lstStyle/>
        <a:p>
          <a:endParaRPr lang="id-ID"/>
        </a:p>
      </dgm:t>
    </dgm:pt>
    <dgm:pt modelId="{9C667514-A866-4AC3-8424-A504A6E8B68F}" type="sibTrans" cxnId="{31E7DEFD-3E92-420B-897E-08B1CC4EBC4A}">
      <dgm:prSet/>
      <dgm:spPr/>
      <dgm:t>
        <a:bodyPr/>
        <a:lstStyle/>
        <a:p>
          <a:endParaRPr lang="id-ID"/>
        </a:p>
      </dgm:t>
    </dgm:pt>
    <dgm:pt modelId="{99677891-1EF0-4390-BD3F-0DB63EA12C4D}">
      <dgm:prSet phldrT="[Text]" custT="1"/>
      <dgm:spPr/>
      <dgm:t>
        <a:bodyPr/>
        <a:lstStyle/>
        <a:p>
          <a:r>
            <a:rPr lang="id-ID" sz="2000" dirty="0" smtClean="0"/>
            <a:t>Tempat penyimpanan barang barang kecil  seperti. Nut, Ring Piston, CDI</a:t>
          </a:r>
          <a:endParaRPr lang="id-ID" sz="2000" dirty="0"/>
        </a:p>
      </dgm:t>
    </dgm:pt>
    <dgm:pt modelId="{D093BBE8-C0E6-4699-B2C5-C34819D49E45}" type="parTrans" cxnId="{C36975A9-9550-46DC-94F9-FA4CD69953B9}">
      <dgm:prSet/>
      <dgm:spPr/>
      <dgm:t>
        <a:bodyPr/>
        <a:lstStyle/>
        <a:p>
          <a:endParaRPr lang="id-ID"/>
        </a:p>
      </dgm:t>
    </dgm:pt>
    <dgm:pt modelId="{33762144-8C31-4D54-92B8-32E0CFF43C6D}" type="sibTrans" cxnId="{C36975A9-9550-46DC-94F9-FA4CD69953B9}">
      <dgm:prSet/>
      <dgm:spPr/>
      <dgm:t>
        <a:bodyPr/>
        <a:lstStyle/>
        <a:p>
          <a:endParaRPr lang="id-ID"/>
        </a:p>
      </dgm:t>
    </dgm:pt>
    <dgm:pt modelId="{9948DA26-027B-4A42-8072-49D0B8E70A7A}">
      <dgm:prSet phldrT="[Text]"/>
      <dgm:spPr/>
      <dgm:t>
        <a:bodyPr/>
        <a:lstStyle/>
        <a:p>
          <a:r>
            <a:rPr lang="id-ID" b="1" dirty="0" smtClean="0"/>
            <a:t>Sub Lokasi</a:t>
          </a:r>
          <a:endParaRPr lang="id-ID" b="1" dirty="0"/>
        </a:p>
      </dgm:t>
    </dgm:pt>
    <dgm:pt modelId="{684FB619-BAEB-46AC-8C17-3A7715323FF5}" type="parTrans" cxnId="{06351AB0-5EA7-4265-B006-A5220073653E}">
      <dgm:prSet/>
      <dgm:spPr/>
      <dgm:t>
        <a:bodyPr/>
        <a:lstStyle/>
        <a:p>
          <a:endParaRPr lang="id-ID"/>
        </a:p>
      </dgm:t>
    </dgm:pt>
    <dgm:pt modelId="{394F7EF0-73BB-42FB-AEB1-17897FB878D1}" type="sibTrans" cxnId="{06351AB0-5EA7-4265-B006-A5220073653E}">
      <dgm:prSet/>
      <dgm:spPr/>
      <dgm:t>
        <a:bodyPr/>
        <a:lstStyle/>
        <a:p>
          <a:endParaRPr lang="id-ID"/>
        </a:p>
      </dgm:t>
    </dgm:pt>
    <dgm:pt modelId="{DFAA5D1C-BAE0-45BE-B217-B3D4E414BFAC}">
      <dgm:prSet phldrT="[Text]"/>
      <dgm:spPr/>
      <dgm:t>
        <a:bodyPr/>
        <a:lstStyle/>
        <a:p>
          <a:r>
            <a:rPr lang="id-ID" dirty="0" smtClean="0"/>
            <a:t>Penyimpanan barang standar dengan jumlah yang sedikit atau eceran contoh. Kabel, piston kit, gasket</a:t>
          </a:r>
          <a:endParaRPr lang="id-ID" dirty="0"/>
        </a:p>
      </dgm:t>
    </dgm:pt>
    <dgm:pt modelId="{C57AFB8A-A523-4AEA-8D33-B3F4A2929CC1}" type="parTrans" cxnId="{8785E978-ABE5-4145-AA8A-1693789ACB28}">
      <dgm:prSet/>
      <dgm:spPr/>
      <dgm:t>
        <a:bodyPr/>
        <a:lstStyle/>
        <a:p>
          <a:endParaRPr lang="id-ID"/>
        </a:p>
      </dgm:t>
    </dgm:pt>
    <dgm:pt modelId="{406CB1B2-13F5-4C18-B21C-1275473936AB}" type="sibTrans" cxnId="{8785E978-ABE5-4145-AA8A-1693789ACB28}">
      <dgm:prSet/>
      <dgm:spPr/>
      <dgm:t>
        <a:bodyPr/>
        <a:lstStyle/>
        <a:p>
          <a:endParaRPr lang="id-ID"/>
        </a:p>
      </dgm:t>
    </dgm:pt>
    <dgm:pt modelId="{F79333D2-DB7F-46F4-9C12-4F97C21ABED5}">
      <dgm:prSet phldrT="[Text]"/>
      <dgm:spPr/>
      <dgm:t>
        <a:bodyPr/>
        <a:lstStyle/>
        <a:p>
          <a:r>
            <a:rPr lang="id-ID" b="1" dirty="0" smtClean="0"/>
            <a:t>Pallet</a:t>
          </a:r>
          <a:endParaRPr lang="id-ID" b="1" dirty="0"/>
        </a:p>
      </dgm:t>
    </dgm:pt>
    <dgm:pt modelId="{ED90C0BA-9E37-48B7-8D52-9978585248C6}" type="parTrans" cxnId="{99608937-CB24-45D3-A9FE-818A6850D83F}">
      <dgm:prSet/>
      <dgm:spPr/>
      <dgm:t>
        <a:bodyPr/>
        <a:lstStyle/>
        <a:p>
          <a:endParaRPr lang="id-ID"/>
        </a:p>
      </dgm:t>
    </dgm:pt>
    <dgm:pt modelId="{0E2273B3-B9D6-490F-810A-5BE3F172D447}" type="sibTrans" cxnId="{99608937-CB24-45D3-A9FE-818A6850D83F}">
      <dgm:prSet/>
      <dgm:spPr/>
      <dgm:t>
        <a:bodyPr/>
        <a:lstStyle/>
        <a:p>
          <a:endParaRPr lang="id-ID"/>
        </a:p>
      </dgm:t>
    </dgm:pt>
    <dgm:pt modelId="{0354EC1B-DBAF-4452-8C42-EB54A778C330}">
      <dgm:prSet phldrT="[Text]"/>
      <dgm:spPr/>
      <dgm:t>
        <a:bodyPr/>
        <a:lstStyle/>
        <a:p>
          <a:r>
            <a:rPr lang="id-ID" dirty="0" smtClean="0"/>
            <a:t>Menyimpan barang standart dan berat  seprti , AHM Oil, Battery </a:t>
          </a:r>
          <a:endParaRPr lang="id-ID" dirty="0"/>
        </a:p>
      </dgm:t>
    </dgm:pt>
    <dgm:pt modelId="{B134F96F-E6F3-4987-9A64-9F183D71FC6E}" type="parTrans" cxnId="{0A17B41C-8DF6-44F4-8B0B-3EE7C236ABB9}">
      <dgm:prSet/>
      <dgm:spPr/>
      <dgm:t>
        <a:bodyPr/>
        <a:lstStyle/>
        <a:p>
          <a:endParaRPr lang="id-ID"/>
        </a:p>
      </dgm:t>
    </dgm:pt>
    <dgm:pt modelId="{1088514E-BF99-4808-97E6-FD8C45F6A6CA}" type="sibTrans" cxnId="{0A17B41C-8DF6-44F4-8B0B-3EE7C236ABB9}">
      <dgm:prSet/>
      <dgm:spPr/>
      <dgm:t>
        <a:bodyPr/>
        <a:lstStyle/>
        <a:p>
          <a:endParaRPr lang="id-ID"/>
        </a:p>
      </dgm:t>
    </dgm:pt>
    <dgm:pt modelId="{D706171A-9F48-42DD-99A5-5D9D40450830}">
      <dgm:prSet phldrT="[Text]"/>
      <dgm:spPr/>
      <dgm:t>
        <a:bodyPr/>
        <a:lstStyle/>
        <a:p>
          <a:r>
            <a:rPr lang="id-ID" dirty="0" smtClean="0"/>
            <a:t>Penyimpanan barang plastik part seperti, step floor, cover body</a:t>
          </a:r>
          <a:endParaRPr lang="id-ID" dirty="0"/>
        </a:p>
      </dgm:t>
    </dgm:pt>
    <dgm:pt modelId="{39AA140C-58CE-4E6A-B33E-D89066FBCF98}" type="parTrans" cxnId="{04F51F8B-79C4-47C3-9851-E7D6E3FE07A1}">
      <dgm:prSet/>
      <dgm:spPr/>
      <dgm:t>
        <a:bodyPr/>
        <a:lstStyle/>
        <a:p>
          <a:endParaRPr lang="id-ID"/>
        </a:p>
      </dgm:t>
    </dgm:pt>
    <dgm:pt modelId="{B8CE6F0E-A13B-4018-9D81-0928B40FC4A9}" type="sibTrans" cxnId="{04F51F8B-79C4-47C3-9851-E7D6E3FE07A1}">
      <dgm:prSet/>
      <dgm:spPr/>
      <dgm:t>
        <a:bodyPr/>
        <a:lstStyle/>
        <a:p>
          <a:endParaRPr lang="id-ID"/>
        </a:p>
      </dgm:t>
    </dgm:pt>
    <dgm:pt modelId="{AE257AE3-FC22-4941-A8C4-489D48FFB1F6}">
      <dgm:prSet phldrT="[Text]"/>
      <dgm:spPr/>
      <dgm:t>
        <a:bodyPr/>
        <a:lstStyle/>
        <a:p>
          <a:r>
            <a:rPr lang="id-ID" b="1" dirty="0" smtClean="0"/>
            <a:t>Rak Berat</a:t>
          </a:r>
          <a:endParaRPr lang="id-ID" b="1" dirty="0"/>
        </a:p>
      </dgm:t>
    </dgm:pt>
    <dgm:pt modelId="{7C0068EF-2C79-4E70-BDB0-84DB49DF6D7A}" type="parTrans" cxnId="{0B776B8F-48FF-48A9-A0D7-DF89D9BA52CA}">
      <dgm:prSet/>
      <dgm:spPr/>
      <dgm:t>
        <a:bodyPr/>
        <a:lstStyle/>
        <a:p>
          <a:endParaRPr lang="id-ID"/>
        </a:p>
      </dgm:t>
    </dgm:pt>
    <dgm:pt modelId="{B7F598FE-4B9C-4CEF-821B-EE94848DA605}" type="sibTrans" cxnId="{0B776B8F-48FF-48A9-A0D7-DF89D9BA52CA}">
      <dgm:prSet/>
      <dgm:spPr/>
      <dgm:t>
        <a:bodyPr/>
        <a:lstStyle/>
        <a:p>
          <a:endParaRPr lang="id-ID"/>
        </a:p>
      </dgm:t>
    </dgm:pt>
    <dgm:pt modelId="{F4DA924F-0B9F-4CC8-B8D5-4DC628D54182}" type="pres">
      <dgm:prSet presAssocID="{A5A4190F-3E68-4815-AEFA-BEF2950D03C0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d-ID"/>
        </a:p>
      </dgm:t>
    </dgm:pt>
    <dgm:pt modelId="{9F83ADA8-7244-498A-B816-4932B396052A}" type="pres">
      <dgm:prSet presAssocID="{175BDC0C-C9D1-4445-8F9C-449C54DFB78D}" presName="comp" presStyleCnt="0"/>
      <dgm:spPr/>
      <dgm:t>
        <a:bodyPr/>
        <a:lstStyle/>
        <a:p>
          <a:endParaRPr lang="id-ID"/>
        </a:p>
      </dgm:t>
    </dgm:pt>
    <dgm:pt modelId="{3A0AEF04-AFF7-4829-9C87-4A9E5547A801}" type="pres">
      <dgm:prSet presAssocID="{175BDC0C-C9D1-4445-8F9C-449C54DFB78D}" presName="box" presStyleLbl="node1" presStyleIdx="0" presStyleCnt="4"/>
      <dgm:spPr/>
      <dgm:t>
        <a:bodyPr/>
        <a:lstStyle/>
        <a:p>
          <a:endParaRPr lang="id-ID"/>
        </a:p>
      </dgm:t>
    </dgm:pt>
    <dgm:pt modelId="{CA63BD6B-0C6B-462A-8B97-A8E8603A1404}" type="pres">
      <dgm:prSet presAssocID="{175BDC0C-C9D1-4445-8F9C-449C54DFB78D}" presName="img" presStyleLbl="fgImgPlace1" presStyleIdx="0" presStyleCnt="4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id-ID"/>
        </a:p>
      </dgm:t>
    </dgm:pt>
    <dgm:pt modelId="{73E0F67F-7C26-4908-A69E-078860897BEC}" type="pres">
      <dgm:prSet presAssocID="{175BDC0C-C9D1-4445-8F9C-449C54DFB78D}" presName="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0A612B3B-0B19-4BF4-8A2B-360ECBA15500}" type="pres">
      <dgm:prSet presAssocID="{9C667514-A866-4AC3-8424-A504A6E8B68F}" presName="spacer" presStyleCnt="0"/>
      <dgm:spPr/>
      <dgm:t>
        <a:bodyPr/>
        <a:lstStyle/>
        <a:p>
          <a:endParaRPr lang="id-ID"/>
        </a:p>
      </dgm:t>
    </dgm:pt>
    <dgm:pt modelId="{FD466AED-320D-40D9-BD79-BF251B2A889B}" type="pres">
      <dgm:prSet presAssocID="{9948DA26-027B-4A42-8072-49D0B8E70A7A}" presName="comp" presStyleCnt="0"/>
      <dgm:spPr/>
      <dgm:t>
        <a:bodyPr/>
        <a:lstStyle/>
        <a:p>
          <a:endParaRPr lang="id-ID"/>
        </a:p>
      </dgm:t>
    </dgm:pt>
    <dgm:pt modelId="{5FDC2830-67E9-4149-A358-24B5C3AF19FD}" type="pres">
      <dgm:prSet presAssocID="{9948DA26-027B-4A42-8072-49D0B8E70A7A}" presName="box" presStyleLbl="node1" presStyleIdx="1" presStyleCnt="4"/>
      <dgm:spPr/>
      <dgm:t>
        <a:bodyPr/>
        <a:lstStyle/>
        <a:p>
          <a:endParaRPr lang="id-ID"/>
        </a:p>
      </dgm:t>
    </dgm:pt>
    <dgm:pt modelId="{7513522B-864F-4930-BE3B-7BA8E9CB3208}" type="pres">
      <dgm:prSet presAssocID="{9948DA26-027B-4A42-8072-49D0B8E70A7A}" presName="img" presStyleLbl="fgImgPlace1" presStyleIdx="1" presStyleCnt="4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id-ID"/>
        </a:p>
      </dgm:t>
    </dgm:pt>
    <dgm:pt modelId="{28C8EEED-1D69-448E-AE33-5F73377D971B}" type="pres">
      <dgm:prSet presAssocID="{9948DA26-027B-4A42-8072-49D0B8E70A7A}" presName="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680FF614-0B8F-4C77-B76B-B348F286751C}" type="pres">
      <dgm:prSet presAssocID="{394F7EF0-73BB-42FB-AEB1-17897FB878D1}" presName="spacer" presStyleCnt="0"/>
      <dgm:spPr/>
      <dgm:t>
        <a:bodyPr/>
        <a:lstStyle/>
        <a:p>
          <a:endParaRPr lang="id-ID"/>
        </a:p>
      </dgm:t>
    </dgm:pt>
    <dgm:pt modelId="{8F9864D4-3B76-4D42-9EA4-63BF4C1A1132}" type="pres">
      <dgm:prSet presAssocID="{AE257AE3-FC22-4941-A8C4-489D48FFB1F6}" presName="comp" presStyleCnt="0"/>
      <dgm:spPr/>
      <dgm:t>
        <a:bodyPr/>
        <a:lstStyle/>
        <a:p>
          <a:endParaRPr lang="id-ID"/>
        </a:p>
      </dgm:t>
    </dgm:pt>
    <dgm:pt modelId="{D16DB2DA-4A4F-41D8-A0E7-E0D416084A06}" type="pres">
      <dgm:prSet presAssocID="{AE257AE3-FC22-4941-A8C4-489D48FFB1F6}" presName="box" presStyleLbl="node1" presStyleIdx="2" presStyleCnt="4"/>
      <dgm:spPr/>
      <dgm:t>
        <a:bodyPr/>
        <a:lstStyle/>
        <a:p>
          <a:endParaRPr lang="id-ID"/>
        </a:p>
      </dgm:t>
    </dgm:pt>
    <dgm:pt modelId="{66D7C1CF-C663-4774-89FA-FD37600357CF}" type="pres">
      <dgm:prSet presAssocID="{AE257AE3-FC22-4941-A8C4-489D48FFB1F6}" presName="img" presStyleLbl="fgImgPlace1" presStyleIdx="2" presStyleCnt="4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id-ID"/>
        </a:p>
      </dgm:t>
    </dgm:pt>
    <dgm:pt modelId="{967E44EF-E761-4665-8490-B7A6FB09D9E3}" type="pres">
      <dgm:prSet presAssocID="{AE257AE3-FC22-4941-A8C4-489D48FFB1F6}" presName="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FED4AB2C-744C-4F8F-BB5D-B13D12F613DA}" type="pres">
      <dgm:prSet presAssocID="{B7F598FE-4B9C-4CEF-821B-EE94848DA605}" presName="spacer" presStyleCnt="0"/>
      <dgm:spPr/>
      <dgm:t>
        <a:bodyPr/>
        <a:lstStyle/>
        <a:p>
          <a:endParaRPr lang="id-ID"/>
        </a:p>
      </dgm:t>
    </dgm:pt>
    <dgm:pt modelId="{9083868A-7810-416A-A412-669733BDB99A}" type="pres">
      <dgm:prSet presAssocID="{F79333D2-DB7F-46F4-9C12-4F97C21ABED5}" presName="comp" presStyleCnt="0"/>
      <dgm:spPr/>
      <dgm:t>
        <a:bodyPr/>
        <a:lstStyle/>
        <a:p>
          <a:endParaRPr lang="id-ID"/>
        </a:p>
      </dgm:t>
    </dgm:pt>
    <dgm:pt modelId="{531F9382-379B-440B-9051-B403A6E34095}" type="pres">
      <dgm:prSet presAssocID="{F79333D2-DB7F-46F4-9C12-4F97C21ABED5}" presName="box" presStyleLbl="node1" presStyleIdx="3" presStyleCnt="4"/>
      <dgm:spPr/>
      <dgm:t>
        <a:bodyPr/>
        <a:lstStyle/>
        <a:p>
          <a:endParaRPr lang="id-ID"/>
        </a:p>
      </dgm:t>
    </dgm:pt>
    <dgm:pt modelId="{03F25726-9E78-4B49-A9C9-FB804A6C9758}" type="pres">
      <dgm:prSet presAssocID="{F79333D2-DB7F-46F4-9C12-4F97C21ABED5}" presName="img" presStyleLbl="fgImgPlace1" presStyleIdx="3" presStyleCnt="4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id-ID"/>
        </a:p>
      </dgm:t>
    </dgm:pt>
    <dgm:pt modelId="{2739781C-E2C7-4FB8-84DE-B3752716ADB3}" type="pres">
      <dgm:prSet presAssocID="{F79333D2-DB7F-46F4-9C12-4F97C21ABED5}" presName="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</dgm:ptLst>
  <dgm:cxnLst>
    <dgm:cxn modelId="{0B776B8F-48FF-48A9-A0D7-DF89D9BA52CA}" srcId="{A5A4190F-3E68-4815-AEFA-BEF2950D03C0}" destId="{AE257AE3-FC22-4941-A8C4-489D48FFB1F6}" srcOrd="2" destOrd="0" parTransId="{7C0068EF-2C79-4E70-BDB0-84DB49DF6D7A}" sibTransId="{B7F598FE-4B9C-4CEF-821B-EE94848DA605}"/>
    <dgm:cxn modelId="{C36975A9-9550-46DC-94F9-FA4CD69953B9}" srcId="{175BDC0C-C9D1-4445-8F9C-449C54DFB78D}" destId="{99677891-1EF0-4390-BD3F-0DB63EA12C4D}" srcOrd="0" destOrd="0" parTransId="{D093BBE8-C0E6-4699-B2C5-C34819D49E45}" sibTransId="{33762144-8C31-4D54-92B8-32E0CFF43C6D}"/>
    <dgm:cxn modelId="{A09987B9-88B3-4652-A466-468F22776EE8}" type="presOf" srcId="{AE257AE3-FC22-4941-A8C4-489D48FFB1F6}" destId="{967E44EF-E761-4665-8490-B7A6FB09D9E3}" srcOrd="1" destOrd="0" presId="urn:microsoft.com/office/officeart/2005/8/layout/vList4"/>
    <dgm:cxn modelId="{0761A4DE-88D9-4CF8-A064-4EAB1097B5EF}" type="presOf" srcId="{D706171A-9F48-42DD-99A5-5D9D40450830}" destId="{967E44EF-E761-4665-8490-B7A6FB09D9E3}" srcOrd="1" destOrd="1" presId="urn:microsoft.com/office/officeart/2005/8/layout/vList4"/>
    <dgm:cxn modelId="{75F08B5E-2AF2-4F75-8C14-A82CCE9B3159}" type="presOf" srcId="{99677891-1EF0-4390-BD3F-0DB63EA12C4D}" destId="{73E0F67F-7C26-4908-A69E-078860897BEC}" srcOrd="1" destOrd="1" presId="urn:microsoft.com/office/officeart/2005/8/layout/vList4"/>
    <dgm:cxn modelId="{2F16D6D8-C1D0-436A-9B5F-8759DE1AF5B1}" type="presOf" srcId="{F79333D2-DB7F-46F4-9C12-4F97C21ABED5}" destId="{2739781C-E2C7-4FB8-84DE-B3752716ADB3}" srcOrd="1" destOrd="0" presId="urn:microsoft.com/office/officeart/2005/8/layout/vList4"/>
    <dgm:cxn modelId="{04F51F8B-79C4-47C3-9851-E7D6E3FE07A1}" srcId="{AE257AE3-FC22-4941-A8C4-489D48FFB1F6}" destId="{D706171A-9F48-42DD-99A5-5D9D40450830}" srcOrd="0" destOrd="0" parTransId="{39AA140C-58CE-4E6A-B33E-D89066FBCF98}" sibTransId="{B8CE6F0E-A13B-4018-9D81-0928B40FC4A9}"/>
    <dgm:cxn modelId="{5E6CA07A-0224-4304-9D60-88CE490EF302}" type="presOf" srcId="{9948DA26-027B-4A42-8072-49D0B8E70A7A}" destId="{5FDC2830-67E9-4149-A358-24B5C3AF19FD}" srcOrd="0" destOrd="0" presId="urn:microsoft.com/office/officeart/2005/8/layout/vList4"/>
    <dgm:cxn modelId="{370589FE-69C3-4894-8622-E6E56C758F9A}" type="presOf" srcId="{0354EC1B-DBAF-4452-8C42-EB54A778C330}" destId="{531F9382-379B-440B-9051-B403A6E34095}" srcOrd="0" destOrd="1" presId="urn:microsoft.com/office/officeart/2005/8/layout/vList4"/>
    <dgm:cxn modelId="{7DD83D3E-9A3A-4548-ACA0-D2174B8C7FEF}" type="presOf" srcId="{AE257AE3-FC22-4941-A8C4-489D48FFB1F6}" destId="{D16DB2DA-4A4F-41D8-A0E7-E0D416084A06}" srcOrd="0" destOrd="0" presId="urn:microsoft.com/office/officeart/2005/8/layout/vList4"/>
    <dgm:cxn modelId="{0A17B41C-8DF6-44F4-8B0B-3EE7C236ABB9}" srcId="{F79333D2-DB7F-46F4-9C12-4F97C21ABED5}" destId="{0354EC1B-DBAF-4452-8C42-EB54A778C330}" srcOrd="0" destOrd="0" parTransId="{B134F96F-E6F3-4987-9A64-9F183D71FC6E}" sibTransId="{1088514E-BF99-4808-97E6-FD8C45F6A6CA}"/>
    <dgm:cxn modelId="{7D04F191-A613-4291-9B97-0AC2727E8EF1}" type="presOf" srcId="{F79333D2-DB7F-46F4-9C12-4F97C21ABED5}" destId="{531F9382-379B-440B-9051-B403A6E34095}" srcOrd="0" destOrd="0" presId="urn:microsoft.com/office/officeart/2005/8/layout/vList4"/>
    <dgm:cxn modelId="{EE81B5FE-625D-4568-B950-4BE9CF3C0F3B}" type="presOf" srcId="{0354EC1B-DBAF-4452-8C42-EB54A778C330}" destId="{2739781C-E2C7-4FB8-84DE-B3752716ADB3}" srcOrd="1" destOrd="1" presId="urn:microsoft.com/office/officeart/2005/8/layout/vList4"/>
    <dgm:cxn modelId="{D1789DD9-6ABE-4ABC-BBB7-20A4B965F01F}" type="presOf" srcId="{99677891-1EF0-4390-BD3F-0DB63EA12C4D}" destId="{3A0AEF04-AFF7-4829-9C87-4A9E5547A801}" srcOrd="0" destOrd="1" presId="urn:microsoft.com/office/officeart/2005/8/layout/vList4"/>
    <dgm:cxn modelId="{262B9F9B-3BE1-4582-9489-DC964BBE913C}" type="presOf" srcId="{A5A4190F-3E68-4815-AEFA-BEF2950D03C0}" destId="{F4DA924F-0B9F-4CC8-B8D5-4DC628D54182}" srcOrd="0" destOrd="0" presId="urn:microsoft.com/office/officeart/2005/8/layout/vList4"/>
    <dgm:cxn modelId="{6F5A98B5-EBB7-4FD3-98AE-5F231F2E281F}" type="presOf" srcId="{DFAA5D1C-BAE0-45BE-B217-B3D4E414BFAC}" destId="{28C8EEED-1D69-448E-AE33-5F73377D971B}" srcOrd="1" destOrd="1" presId="urn:microsoft.com/office/officeart/2005/8/layout/vList4"/>
    <dgm:cxn modelId="{DC89DD52-06FD-4D1D-8971-804FC3C1ED0D}" type="presOf" srcId="{175BDC0C-C9D1-4445-8F9C-449C54DFB78D}" destId="{3A0AEF04-AFF7-4829-9C87-4A9E5547A801}" srcOrd="0" destOrd="0" presId="urn:microsoft.com/office/officeart/2005/8/layout/vList4"/>
    <dgm:cxn modelId="{FB2BF759-11AC-4BF6-B521-FB7AE3D52ED2}" type="presOf" srcId="{DFAA5D1C-BAE0-45BE-B217-B3D4E414BFAC}" destId="{5FDC2830-67E9-4149-A358-24B5C3AF19FD}" srcOrd="0" destOrd="1" presId="urn:microsoft.com/office/officeart/2005/8/layout/vList4"/>
    <dgm:cxn modelId="{06351AB0-5EA7-4265-B006-A5220073653E}" srcId="{A5A4190F-3E68-4815-AEFA-BEF2950D03C0}" destId="{9948DA26-027B-4A42-8072-49D0B8E70A7A}" srcOrd="1" destOrd="0" parTransId="{684FB619-BAEB-46AC-8C17-3A7715323FF5}" sibTransId="{394F7EF0-73BB-42FB-AEB1-17897FB878D1}"/>
    <dgm:cxn modelId="{F1D1B93E-E32D-41D6-84F5-DCDD30F48B35}" type="presOf" srcId="{9948DA26-027B-4A42-8072-49D0B8E70A7A}" destId="{28C8EEED-1D69-448E-AE33-5F73377D971B}" srcOrd="1" destOrd="0" presId="urn:microsoft.com/office/officeart/2005/8/layout/vList4"/>
    <dgm:cxn modelId="{31E7DEFD-3E92-420B-897E-08B1CC4EBC4A}" srcId="{A5A4190F-3E68-4815-AEFA-BEF2950D03C0}" destId="{175BDC0C-C9D1-4445-8F9C-449C54DFB78D}" srcOrd="0" destOrd="0" parTransId="{90AAF738-7272-4E0C-BDC5-44AED36F76F6}" sibTransId="{9C667514-A866-4AC3-8424-A504A6E8B68F}"/>
    <dgm:cxn modelId="{8785E978-ABE5-4145-AA8A-1693789ACB28}" srcId="{9948DA26-027B-4A42-8072-49D0B8E70A7A}" destId="{DFAA5D1C-BAE0-45BE-B217-B3D4E414BFAC}" srcOrd="0" destOrd="0" parTransId="{C57AFB8A-A523-4AEA-8D33-B3F4A2929CC1}" sibTransId="{406CB1B2-13F5-4C18-B21C-1275473936AB}"/>
    <dgm:cxn modelId="{AC20685E-809F-44E0-B45F-FF4C2B1BFB43}" type="presOf" srcId="{175BDC0C-C9D1-4445-8F9C-449C54DFB78D}" destId="{73E0F67F-7C26-4908-A69E-078860897BEC}" srcOrd="1" destOrd="0" presId="urn:microsoft.com/office/officeart/2005/8/layout/vList4"/>
    <dgm:cxn modelId="{AA2A4FD0-F818-4EAA-A727-B9161C0897AD}" type="presOf" srcId="{D706171A-9F48-42DD-99A5-5D9D40450830}" destId="{D16DB2DA-4A4F-41D8-A0E7-E0D416084A06}" srcOrd="0" destOrd="1" presId="urn:microsoft.com/office/officeart/2005/8/layout/vList4"/>
    <dgm:cxn modelId="{99608937-CB24-45D3-A9FE-818A6850D83F}" srcId="{A5A4190F-3E68-4815-AEFA-BEF2950D03C0}" destId="{F79333D2-DB7F-46F4-9C12-4F97C21ABED5}" srcOrd="3" destOrd="0" parTransId="{ED90C0BA-9E37-48B7-8D52-9978585248C6}" sibTransId="{0E2273B3-B9D6-490F-810A-5BE3F172D447}"/>
    <dgm:cxn modelId="{D55E1DE2-1736-4704-8EA5-D83330766930}" type="presParOf" srcId="{F4DA924F-0B9F-4CC8-B8D5-4DC628D54182}" destId="{9F83ADA8-7244-498A-B816-4932B396052A}" srcOrd="0" destOrd="0" presId="urn:microsoft.com/office/officeart/2005/8/layout/vList4"/>
    <dgm:cxn modelId="{F38B5650-CBE3-4950-98BB-CB6522D16D3E}" type="presParOf" srcId="{9F83ADA8-7244-498A-B816-4932B396052A}" destId="{3A0AEF04-AFF7-4829-9C87-4A9E5547A801}" srcOrd="0" destOrd="0" presId="urn:microsoft.com/office/officeart/2005/8/layout/vList4"/>
    <dgm:cxn modelId="{993FDE1B-4650-4B45-A2FE-5D0C39D2F1FD}" type="presParOf" srcId="{9F83ADA8-7244-498A-B816-4932B396052A}" destId="{CA63BD6B-0C6B-462A-8B97-A8E8603A1404}" srcOrd="1" destOrd="0" presId="urn:microsoft.com/office/officeart/2005/8/layout/vList4"/>
    <dgm:cxn modelId="{8AEB93D9-B90F-4A1E-B2C1-F0512D4FE5D3}" type="presParOf" srcId="{9F83ADA8-7244-498A-B816-4932B396052A}" destId="{73E0F67F-7C26-4908-A69E-078860897BEC}" srcOrd="2" destOrd="0" presId="urn:microsoft.com/office/officeart/2005/8/layout/vList4"/>
    <dgm:cxn modelId="{DA526931-0E9F-4A3C-8230-F28BEDEB973D}" type="presParOf" srcId="{F4DA924F-0B9F-4CC8-B8D5-4DC628D54182}" destId="{0A612B3B-0B19-4BF4-8A2B-360ECBA15500}" srcOrd="1" destOrd="0" presId="urn:microsoft.com/office/officeart/2005/8/layout/vList4"/>
    <dgm:cxn modelId="{6CE72F4A-6FA7-4566-BF3A-9B2BC7651EFB}" type="presParOf" srcId="{F4DA924F-0B9F-4CC8-B8D5-4DC628D54182}" destId="{FD466AED-320D-40D9-BD79-BF251B2A889B}" srcOrd="2" destOrd="0" presId="urn:microsoft.com/office/officeart/2005/8/layout/vList4"/>
    <dgm:cxn modelId="{4A5D257E-9440-4EE7-9A95-AAF197AF79B6}" type="presParOf" srcId="{FD466AED-320D-40D9-BD79-BF251B2A889B}" destId="{5FDC2830-67E9-4149-A358-24B5C3AF19FD}" srcOrd="0" destOrd="0" presId="urn:microsoft.com/office/officeart/2005/8/layout/vList4"/>
    <dgm:cxn modelId="{F01C1AC0-6475-4669-B6C9-1660AAFC2B14}" type="presParOf" srcId="{FD466AED-320D-40D9-BD79-BF251B2A889B}" destId="{7513522B-864F-4930-BE3B-7BA8E9CB3208}" srcOrd="1" destOrd="0" presId="urn:microsoft.com/office/officeart/2005/8/layout/vList4"/>
    <dgm:cxn modelId="{3F042BF9-00EB-46C3-8335-DEA8D1C533F7}" type="presParOf" srcId="{FD466AED-320D-40D9-BD79-BF251B2A889B}" destId="{28C8EEED-1D69-448E-AE33-5F73377D971B}" srcOrd="2" destOrd="0" presId="urn:microsoft.com/office/officeart/2005/8/layout/vList4"/>
    <dgm:cxn modelId="{4824BF29-0B48-4E23-8AAE-041F0E7D2248}" type="presParOf" srcId="{F4DA924F-0B9F-4CC8-B8D5-4DC628D54182}" destId="{680FF614-0B8F-4C77-B76B-B348F286751C}" srcOrd="3" destOrd="0" presId="urn:microsoft.com/office/officeart/2005/8/layout/vList4"/>
    <dgm:cxn modelId="{349B7C33-F481-4955-952F-B4D9BF8AB864}" type="presParOf" srcId="{F4DA924F-0B9F-4CC8-B8D5-4DC628D54182}" destId="{8F9864D4-3B76-4D42-9EA4-63BF4C1A1132}" srcOrd="4" destOrd="0" presId="urn:microsoft.com/office/officeart/2005/8/layout/vList4"/>
    <dgm:cxn modelId="{88607D48-76CA-43F0-BA0D-2692CE810548}" type="presParOf" srcId="{8F9864D4-3B76-4D42-9EA4-63BF4C1A1132}" destId="{D16DB2DA-4A4F-41D8-A0E7-E0D416084A06}" srcOrd="0" destOrd="0" presId="urn:microsoft.com/office/officeart/2005/8/layout/vList4"/>
    <dgm:cxn modelId="{9BD44DD1-139B-450A-A4D6-BE9FF85C2CC1}" type="presParOf" srcId="{8F9864D4-3B76-4D42-9EA4-63BF4C1A1132}" destId="{66D7C1CF-C663-4774-89FA-FD37600357CF}" srcOrd="1" destOrd="0" presId="urn:microsoft.com/office/officeart/2005/8/layout/vList4"/>
    <dgm:cxn modelId="{651D003C-7F72-4EB6-9811-7640913DB2FA}" type="presParOf" srcId="{8F9864D4-3B76-4D42-9EA4-63BF4C1A1132}" destId="{967E44EF-E761-4665-8490-B7A6FB09D9E3}" srcOrd="2" destOrd="0" presId="urn:microsoft.com/office/officeart/2005/8/layout/vList4"/>
    <dgm:cxn modelId="{B6163CA2-803B-415C-BC50-B1C4193ED622}" type="presParOf" srcId="{F4DA924F-0B9F-4CC8-B8D5-4DC628D54182}" destId="{FED4AB2C-744C-4F8F-BB5D-B13D12F613DA}" srcOrd="5" destOrd="0" presId="urn:microsoft.com/office/officeart/2005/8/layout/vList4"/>
    <dgm:cxn modelId="{006173E8-B220-4894-8EA9-EF80269F9377}" type="presParOf" srcId="{F4DA924F-0B9F-4CC8-B8D5-4DC628D54182}" destId="{9083868A-7810-416A-A412-669733BDB99A}" srcOrd="6" destOrd="0" presId="urn:microsoft.com/office/officeart/2005/8/layout/vList4"/>
    <dgm:cxn modelId="{8E57EEEF-AB2E-47ED-9BD5-9292D50343DA}" type="presParOf" srcId="{9083868A-7810-416A-A412-669733BDB99A}" destId="{531F9382-379B-440B-9051-B403A6E34095}" srcOrd="0" destOrd="0" presId="urn:microsoft.com/office/officeart/2005/8/layout/vList4"/>
    <dgm:cxn modelId="{95138A5D-2D0E-4C49-B32F-B1AD62B89DDE}" type="presParOf" srcId="{9083868A-7810-416A-A412-669733BDB99A}" destId="{03F25726-9E78-4B49-A9C9-FB804A6C9758}" srcOrd="1" destOrd="0" presId="urn:microsoft.com/office/officeart/2005/8/layout/vList4"/>
    <dgm:cxn modelId="{1A42F27E-91FA-4764-8B33-8CBE400D7A95}" type="presParOf" srcId="{9083868A-7810-416A-A412-669733BDB99A}" destId="{2739781C-E2C7-4FB8-84DE-B3752716ADB3}" srcOrd="2" destOrd="0" presId="urn:microsoft.com/office/officeart/2005/8/layout/vList4"/>
  </dgm:cxnLst>
  <dgm:bg/>
  <dgm:whole/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E0781D0-7AC0-4752-A027-B79E5D3BDE7D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id-ID"/>
        </a:p>
      </dgm:t>
    </dgm:pt>
    <dgm:pt modelId="{66A8C3DF-7F3A-4E72-9629-98322C684F57}">
      <dgm:prSet phldrT="[Text]"/>
      <dgm:spPr/>
      <dgm:t>
        <a:bodyPr/>
        <a:lstStyle/>
        <a:p>
          <a:r>
            <a:rPr lang="id-ID" b="1" u="sng" dirty="0" smtClean="0"/>
            <a:t>RAGULAR ORDER</a:t>
          </a:r>
        </a:p>
        <a:p>
          <a:r>
            <a:rPr lang="id-ID" dirty="0" smtClean="0"/>
            <a:t>Fasilitas order spare part ke AHM yang berisi data back order dari bulan sebelumnya  </a:t>
          </a:r>
          <a:endParaRPr lang="id-ID" dirty="0"/>
        </a:p>
      </dgm:t>
    </dgm:pt>
    <dgm:pt modelId="{EEF73A3C-C072-44E6-B931-041CB74F2CE5}" type="parTrans" cxnId="{19C08DEE-05E1-4BE4-BCE0-BBC2D31E9AA2}">
      <dgm:prSet/>
      <dgm:spPr/>
      <dgm:t>
        <a:bodyPr/>
        <a:lstStyle/>
        <a:p>
          <a:endParaRPr lang="id-ID"/>
        </a:p>
      </dgm:t>
    </dgm:pt>
    <dgm:pt modelId="{9FD74E99-2474-4517-97C1-98AF42FF0537}" type="sibTrans" cxnId="{19C08DEE-05E1-4BE4-BCE0-BBC2D31E9AA2}">
      <dgm:prSet/>
      <dgm:spPr/>
      <dgm:t>
        <a:bodyPr/>
        <a:lstStyle/>
        <a:p>
          <a:endParaRPr lang="id-ID"/>
        </a:p>
      </dgm:t>
    </dgm:pt>
    <dgm:pt modelId="{77279CC9-C9D5-4366-A45D-0241ACFF6B29}">
      <dgm:prSet phldrT="[Text]"/>
      <dgm:spPr/>
      <dgm:t>
        <a:bodyPr/>
        <a:lstStyle/>
        <a:p>
          <a:r>
            <a:rPr lang="id-ID" b="1" u="sng" dirty="0" smtClean="0"/>
            <a:t>FIX ORDER</a:t>
          </a:r>
        </a:p>
        <a:p>
          <a:r>
            <a:rPr lang="id-ID" dirty="0" smtClean="0"/>
            <a:t>Fasilitas order spare part ke AHM untuk pemenuhan supply 2 bulan ke depan yang berisi deman dari Ahass dan H3 </a:t>
          </a:r>
          <a:endParaRPr lang="id-ID" dirty="0"/>
        </a:p>
      </dgm:t>
    </dgm:pt>
    <dgm:pt modelId="{E7EC799B-895E-430F-8789-FC97C5320FE9}" type="parTrans" cxnId="{2C747DAD-25E2-499F-B017-78057C8280D3}">
      <dgm:prSet/>
      <dgm:spPr/>
      <dgm:t>
        <a:bodyPr/>
        <a:lstStyle/>
        <a:p>
          <a:endParaRPr lang="id-ID"/>
        </a:p>
      </dgm:t>
    </dgm:pt>
    <dgm:pt modelId="{E0081857-4A51-4C61-A38E-F6952A0D6CD0}" type="sibTrans" cxnId="{2C747DAD-25E2-499F-B017-78057C8280D3}">
      <dgm:prSet/>
      <dgm:spPr/>
      <dgm:t>
        <a:bodyPr/>
        <a:lstStyle/>
        <a:p>
          <a:endParaRPr lang="id-ID"/>
        </a:p>
      </dgm:t>
    </dgm:pt>
    <dgm:pt modelId="{D79E4FF4-2451-4D40-B6A0-8CBD8531F3DB}">
      <dgm:prSet phldrT="[Text]"/>
      <dgm:spPr/>
      <dgm:t>
        <a:bodyPr/>
        <a:lstStyle/>
        <a:p>
          <a:r>
            <a:rPr lang="id-ID" b="1" u="sng" dirty="0" smtClean="0"/>
            <a:t>URGENT ORDER</a:t>
          </a:r>
        </a:p>
        <a:p>
          <a:r>
            <a:rPr lang="id-ID" dirty="0" smtClean="0"/>
            <a:t>Fasilitas order spare part untuk SMH yang belum terjual ke konsumen (untuk unit Blok stok)</a:t>
          </a:r>
          <a:endParaRPr lang="id-ID" dirty="0"/>
        </a:p>
      </dgm:t>
    </dgm:pt>
    <dgm:pt modelId="{3DE19CB2-468F-4D1B-BF91-4F7B6BA2443E}" type="parTrans" cxnId="{B3FF0EAA-A6D4-4F51-BE09-494A28AE30C1}">
      <dgm:prSet/>
      <dgm:spPr/>
      <dgm:t>
        <a:bodyPr/>
        <a:lstStyle/>
        <a:p>
          <a:endParaRPr lang="id-ID"/>
        </a:p>
      </dgm:t>
    </dgm:pt>
    <dgm:pt modelId="{B69C4042-777B-4114-BE74-6F6D3E22EFD1}" type="sibTrans" cxnId="{B3FF0EAA-A6D4-4F51-BE09-494A28AE30C1}">
      <dgm:prSet/>
      <dgm:spPr/>
      <dgm:t>
        <a:bodyPr/>
        <a:lstStyle/>
        <a:p>
          <a:endParaRPr lang="id-ID"/>
        </a:p>
      </dgm:t>
    </dgm:pt>
    <dgm:pt modelId="{09C1EE6C-C1CB-4B81-97BE-6478651FB567}">
      <dgm:prSet phldrT="[Text]"/>
      <dgm:spPr/>
      <dgm:t>
        <a:bodyPr/>
        <a:lstStyle/>
        <a:p>
          <a:r>
            <a:rPr lang="id-ID" b="1" u="sng" dirty="0" smtClean="0"/>
            <a:t>HOTLINE</a:t>
          </a:r>
        </a:p>
        <a:p>
          <a:r>
            <a:rPr lang="id-ID" dirty="0" smtClean="0"/>
            <a:t>Fasilitas khusus  yang diberikan kepada jaringan AHASS dan HELP , apabila part yang dibutuhkan oleh konsumen tidak tersedia</a:t>
          </a:r>
          <a:endParaRPr lang="id-ID" dirty="0"/>
        </a:p>
      </dgm:t>
    </dgm:pt>
    <dgm:pt modelId="{9D498862-8562-4FC9-AC9C-D4212DDA7410}" type="parTrans" cxnId="{6069300A-67B5-4800-A6E8-C1E63799D0B7}">
      <dgm:prSet/>
      <dgm:spPr/>
      <dgm:t>
        <a:bodyPr/>
        <a:lstStyle/>
        <a:p>
          <a:endParaRPr lang="id-ID"/>
        </a:p>
      </dgm:t>
    </dgm:pt>
    <dgm:pt modelId="{C21C1D18-3799-4DDB-8ECF-A1FB1489C43E}" type="sibTrans" cxnId="{6069300A-67B5-4800-A6E8-C1E63799D0B7}">
      <dgm:prSet/>
      <dgm:spPr/>
      <dgm:t>
        <a:bodyPr/>
        <a:lstStyle/>
        <a:p>
          <a:endParaRPr lang="id-ID"/>
        </a:p>
      </dgm:t>
    </dgm:pt>
    <dgm:pt modelId="{0BC06B64-24BC-4F30-8F36-26E8B59CC783}" type="pres">
      <dgm:prSet presAssocID="{3E0781D0-7AC0-4752-A027-B79E5D3BDE7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d-ID"/>
        </a:p>
      </dgm:t>
    </dgm:pt>
    <dgm:pt modelId="{9117E80A-7B0D-40CE-B54A-9AAD0819186B}" type="pres">
      <dgm:prSet presAssocID="{66A8C3DF-7F3A-4E72-9629-98322C684F57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0B2D8BDA-2312-470A-A50C-68A37B565A00}" type="pres">
      <dgm:prSet presAssocID="{9FD74E99-2474-4517-97C1-98AF42FF0537}" presName="spacer" presStyleCnt="0"/>
      <dgm:spPr/>
      <dgm:t>
        <a:bodyPr/>
        <a:lstStyle/>
        <a:p>
          <a:endParaRPr lang="id-ID"/>
        </a:p>
      </dgm:t>
    </dgm:pt>
    <dgm:pt modelId="{0E734768-1784-4F9B-BD03-5972EB5A99A4}" type="pres">
      <dgm:prSet presAssocID="{77279CC9-C9D5-4366-A45D-0241ACFF6B29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6AB7F455-0712-4970-97BA-D05D6708879E}" type="pres">
      <dgm:prSet presAssocID="{E0081857-4A51-4C61-A38E-F6952A0D6CD0}" presName="spacer" presStyleCnt="0"/>
      <dgm:spPr/>
      <dgm:t>
        <a:bodyPr/>
        <a:lstStyle/>
        <a:p>
          <a:endParaRPr lang="id-ID"/>
        </a:p>
      </dgm:t>
    </dgm:pt>
    <dgm:pt modelId="{DCEC83B9-058A-4108-84CC-84542CF1825B}" type="pres">
      <dgm:prSet presAssocID="{D79E4FF4-2451-4D40-B6A0-8CBD8531F3DB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CD4989BA-D9BD-4867-A7A2-911ACBCFBF88}" type="pres">
      <dgm:prSet presAssocID="{B69C4042-777B-4114-BE74-6F6D3E22EFD1}" presName="spacer" presStyleCnt="0"/>
      <dgm:spPr/>
      <dgm:t>
        <a:bodyPr/>
        <a:lstStyle/>
        <a:p>
          <a:endParaRPr lang="id-ID"/>
        </a:p>
      </dgm:t>
    </dgm:pt>
    <dgm:pt modelId="{402B00C9-40BB-4914-94B9-36868CEFB7A5}" type="pres">
      <dgm:prSet presAssocID="{09C1EE6C-C1CB-4B81-97BE-6478651FB567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d-ID"/>
        </a:p>
      </dgm:t>
    </dgm:pt>
  </dgm:ptLst>
  <dgm:cxnLst>
    <dgm:cxn modelId="{B3FF0EAA-A6D4-4F51-BE09-494A28AE30C1}" srcId="{3E0781D0-7AC0-4752-A027-B79E5D3BDE7D}" destId="{D79E4FF4-2451-4D40-B6A0-8CBD8531F3DB}" srcOrd="2" destOrd="0" parTransId="{3DE19CB2-468F-4D1B-BF91-4F7B6BA2443E}" sibTransId="{B69C4042-777B-4114-BE74-6F6D3E22EFD1}"/>
    <dgm:cxn modelId="{19C08DEE-05E1-4BE4-BCE0-BBC2D31E9AA2}" srcId="{3E0781D0-7AC0-4752-A027-B79E5D3BDE7D}" destId="{66A8C3DF-7F3A-4E72-9629-98322C684F57}" srcOrd="0" destOrd="0" parTransId="{EEF73A3C-C072-44E6-B931-041CB74F2CE5}" sibTransId="{9FD74E99-2474-4517-97C1-98AF42FF0537}"/>
    <dgm:cxn modelId="{A6E6B94A-716A-4460-8650-0E91597D5454}" type="presOf" srcId="{D79E4FF4-2451-4D40-B6A0-8CBD8531F3DB}" destId="{DCEC83B9-058A-4108-84CC-84542CF1825B}" srcOrd="0" destOrd="0" presId="urn:microsoft.com/office/officeart/2005/8/layout/vList2"/>
    <dgm:cxn modelId="{B8278822-0E3B-43C9-9C62-910D37EA570A}" type="presOf" srcId="{3E0781D0-7AC0-4752-A027-B79E5D3BDE7D}" destId="{0BC06B64-24BC-4F30-8F36-26E8B59CC783}" srcOrd="0" destOrd="0" presId="urn:microsoft.com/office/officeart/2005/8/layout/vList2"/>
    <dgm:cxn modelId="{6069300A-67B5-4800-A6E8-C1E63799D0B7}" srcId="{3E0781D0-7AC0-4752-A027-B79E5D3BDE7D}" destId="{09C1EE6C-C1CB-4B81-97BE-6478651FB567}" srcOrd="3" destOrd="0" parTransId="{9D498862-8562-4FC9-AC9C-D4212DDA7410}" sibTransId="{C21C1D18-3799-4DDB-8ECF-A1FB1489C43E}"/>
    <dgm:cxn modelId="{663C60C9-6C44-4B02-BBA6-301DDE9E56E6}" type="presOf" srcId="{66A8C3DF-7F3A-4E72-9629-98322C684F57}" destId="{9117E80A-7B0D-40CE-B54A-9AAD0819186B}" srcOrd="0" destOrd="0" presId="urn:microsoft.com/office/officeart/2005/8/layout/vList2"/>
    <dgm:cxn modelId="{DEB6C34B-9FB1-4DE2-8472-0951D8EE35BE}" type="presOf" srcId="{09C1EE6C-C1CB-4B81-97BE-6478651FB567}" destId="{402B00C9-40BB-4914-94B9-36868CEFB7A5}" srcOrd="0" destOrd="0" presId="urn:microsoft.com/office/officeart/2005/8/layout/vList2"/>
    <dgm:cxn modelId="{2C747DAD-25E2-499F-B017-78057C8280D3}" srcId="{3E0781D0-7AC0-4752-A027-B79E5D3BDE7D}" destId="{77279CC9-C9D5-4366-A45D-0241ACFF6B29}" srcOrd="1" destOrd="0" parTransId="{E7EC799B-895E-430F-8789-FC97C5320FE9}" sibTransId="{E0081857-4A51-4C61-A38E-F6952A0D6CD0}"/>
    <dgm:cxn modelId="{D20C041B-A8FA-4793-8ABD-577968A3B0C6}" type="presOf" srcId="{77279CC9-C9D5-4366-A45D-0241ACFF6B29}" destId="{0E734768-1784-4F9B-BD03-5972EB5A99A4}" srcOrd="0" destOrd="0" presId="urn:microsoft.com/office/officeart/2005/8/layout/vList2"/>
    <dgm:cxn modelId="{A12E0DAC-374D-4CC9-9579-644FBBB19CB5}" type="presParOf" srcId="{0BC06B64-24BC-4F30-8F36-26E8B59CC783}" destId="{9117E80A-7B0D-40CE-B54A-9AAD0819186B}" srcOrd="0" destOrd="0" presId="urn:microsoft.com/office/officeart/2005/8/layout/vList2"/>
    <dgm:cxn modelId="{447260CE-7D61-47B6-99C4-0ADE6269CDD9}" type="presParOf" srcId="{0BC06B64-24BC-4F30-8F36-26E8B59CC783}" destId="{0B2D8BDA-2312-470A-A50C-68A37B565A00}" srcOrd="1" destOrd="0" presId="urn:microsoft.com/office/officeart/2005/8/layout/vList2"/>
    <dgm:cxn modelId="{B5B18DB1-2FCA-4635-939D-688E66573F51}" type="presParOf" srcId="{0BC06B64-24BC-4F30-8F36-26E8B59CC783}" destId="{0E734768-1784-4F9B-BD03-5972EB5A99A4}" srcOrd="2" destOrd="0" presId="urn:microsoft.com/office/officeart/2005/8/layout/vList2"/>
    <dgm:cxn modelId="{AB4E053A-94B4-49F3-8F09-8F3BB05E3C12}" type="presParOf" srcId="{0BC06B64-24BC-4F30-8F36-26E8B59CC783}" destId="{6AB7F455-0712-4970-97BA-D05D6708879E}" srcOrd="3" destOrd="0" presId="urn:microsoft.com/office/officeart/2005/8/layout/vList2"/>
    <dgm:cxn modelId="{08D84E98-9ADD-4AD8-9465-3D78834E3A31}" type="presParOf" srcId="{0BC06B64-24BC-4F30-8F36-26E8B59CC783}" destId="{DCEC83B9-058A-4108-84CC-84542CF1825B}" srcOrd="4" destOrd="0" presId="urn:microsoft.com/office/officeart/2005/8/layout/vList2"/>
    <dgm:cxn modelId="{D2DA4F18-E96A-4A32-8B3C-D2E91F96314E}" type="presParOf" srcId="{0BC06B64-24BC-4F30-8F36-26E8B59CC783}" destId="{CD4989BA-D9BD-4867-A7A2-911ACBCFBF88}" srcOrd="5" destOrd="0" presId="urn:microsoft.com/office/officeart/2005/8/layout/vList2"/>
    <dgm:cxn modelId="{FE36524E-EE81-4127-81BE-6E74FA443267}" type="presParOf" srcId="{0BC06B64-24BC-4F30-8F36-26E8B59CC783}" destId="{402B00C9-40BB-4914-94B9-36868CEFB7A5}" srcOrd="6" destOrd="0" presId="urn:microsoft.com/office/officeart/2005/8/layout/vList2"/>
  </dgm:cxnLst>
  <dgm:bg/>
  <dgm:whole/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47C3BB4-EF94-4328-B131-6B67D73E259E}" type="doc">
      <dgm:prSet loTypeId="urn:microsoft.com/office/officeart/2005/8/layout/chevron2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id-ID"/>
        </a:p>
      </dgm:t>
    </dgm:pt>
    <dgm:pt modelId="{D3A839B3-051A-4087-AA7F-EC8792973A06}">
      <dgm:prSet phldrT="[Text]"/>
      <dgm:spPr/>
      <dgm:t>
        <a:bodyPr/>
        <a:lstStyle/>
        <a:p>
          <a:r>
            <a:rPr lang="id-ID" dirty="0" smtClean="0"/>
            <a:t>RANK A</a:t>
          </a:r>
          <a:endParaRPr lang="id-ID" dirty="0"/>
        </a:p>
      </dgm:t>
    </dgm:pt>
    <dgm:pt modelId="{8F2D7C9B-2468-4D86-A097-6794AC582486}" type="parTrans" cxnId="{E4984ABE-7973-4DEF-9D8E-885EE11B8178}">
      <dgm:prSet/>
      <dgm:spPr/>
      <dgm:t>
        <a:bodyPr/>
        <a:lstStyle/>
        <a:p>
          <a:endParaRPr lang="id-ID"/>
        </a:p>
      </dgm:t>
    </dgm:pt>
    <dgm:pt modelId="{664A58E1-BE4A-4E0D-BE95-8A4694CEE0BE}" type="sibTrans" cxnId="{E4984ABE-7973-4DEF-9D8E-885EE11B8178}">
      <dgm:prSet/>
      <dgm:spPr/>
      <dgm:t>
        <a:bodyPr/>
        <a:lstStyle/>
        <a:p>
          <a:endParaRPr lang="id-ID"/>
        </a:p>
      </dgm:t>
    </dgm:pt>
    <dgm:pt modelId="{0F7996E8-7855-41A7-8A44-86DFC520AA9F}">
      <dgm:prSet phldrT="[Text]"/>
      <dgm:spPr/>
      <dgm:t>
        <a:bodyPr/>
        <a:lstStyle/>
        <a:p>
          <a:pPr algn="ctr"/>
          <a:r>
            <a:rPr lang="id-ID" dirty="0" smtClean="0"/>
            <a:t>FAST MOVING</a:t>
          </a:r>
          <a:endParaRPr lang="id-ID" dirty="0"/>
        </a:p>
      </dgm:t>
    </dgm:pt>
    <dgm:pt modelId="{5CEF5720-20DD-4C5E-BF29-746A6B9B56A2}" type="parTrans" cxnId="{26759ECD-04DE-44B4-BFA0-FF4C5F429CFE}">
      <dgm:prSet/>
      <dgm:spPr/>
      <dgm:t>
        <a:bodyPr/>
        <a:lstStyle/>
        <a:p>
          <a:endParaRPr lang="id-ID"/>
        </a:p>
      </dgm:t>
    </dgm:pt>
    <dgm:pt modelId="{874F7BDC-B19B-4122-9E7D-B1AE921E53B5}" type="sibTrans" cxnId="{26759ECD-04DE-44B4-BFA0-FF4C5F429CFE}">
      <dgm:prSet/>
      <dgm:spPr/>
      <dgm:t>
        <a:bodyPr/>
        <a:lstStyle/>
        <a:p>
          <a:endParaRPr lang="id-ID"/>
        </a:p>
      </dgm:t>
    </dgm:pt>
    <dgm:pt modelId="{40724A5E-4D45-4AF9-9BD4-819CCC0B5C13}">
      <dgm:prSet phldrT="[Text]"/>
      <dgm:spPr/>
      <dgm:t>
        <a:bodyPr/>
        <a:lstStyle/>
        <a:p>
          <a:r>
            <a:rPr lang="id-ID" dirty="0" smtClean="0"/>
            <a:t>RANK B </a:t>
          </a:r>
        </a:p>
      </dgm:t>
    </dgm:pt>
    <dgm:pt modelId="{3D7214EE-F41A-4ABC-8BE6-4B39195CCD32}" type="parTrans" cxnId="{7B9318C3-CD0A-468C-AAC6-1A6879A9350D}">
      <dgm:prSet/>
      <dgm:spPr/>
      <dgm:t>
        <a:bodyPr/>
        <a:lstStyle/>
        <a:p>
          <a:endParaRPr lang="id-ID"/>
        </a:p>
      </dgm:t>
    </dgm:pt>
    <dgm:pt modelId="{C5391B53-6CFF-46E5-BE9E-1D1246AFA815}" type="sibTrans" cxnId="{7B9318C3-CD0A-468C-AAC6-1A6879A9350D}">
      <dgm:prSet/>
      <dgm:spPr/>
      <dgm:t>
        <a:bodyPr/>
        <a:lstStyle/>
        <a:p>
          <a:endParaRPr lang="id-ID"/>
        </a:p>
      </dgm:t>
    </dgm:pt>
    <dgm:pt modelId="{C43D30FB-0860-4BF2-BA82-052B7191813F}">
      <dgm:prSet phldrT="[Text]"/>
      <dgm:spPr/>
      <dgm:t>
        <a:bodyPr/>
        <a:lstStyle/>
        <a:p>
          <a:pPr algn="ctr"/>
          <a:r>
            <a:rPr lang="id-ID" dirty="0" smtClean="0"/>
            <a:t>SEMI FAST MOVING</a:t>
          </a:r>
          <a:endParaRPr lang="id-ID" dirty="0"/>
        </a:p>
      </dgm:t>
    </dgm:pt>
    <dgm:pt modelId="{5A70DE3C-2883-40FB-9E7B-26D7166E30AB}" type="parTrans" cxnId="{0A176AE5-B8DB-4845-8249-9819C1148CAD}">
      <dgm:prSet/>
      <dgm:spPr/>
      <dgm:t>
        <a:bodyPr/>
        <a:lstStyle/>
        <a:p>
          <a:endParaRPr lang="id-ID"/>
        </a:p>
      </dgm:t>
    </dgm:pt>
    <dgm:pt modelId="{1F489ED9-5452-4393-AFDB-EC98AEC3F149}" type="sibTrans" cxnId="{0A176AE5-B8DB-4845-8249-9819C1148CAD}">
      <dgm:prSet/>
      <dgm:spPr/>
      <dgm:t>
        <a:bodyPr/>
        <a:lstStyle/>
        <a:p>
          <a:endParaRPr lang="id-ID"/>
        </a:p>
      </dgm:t>
    </dgm:pt>
    <dgm:pt modelId="{073164CA-DFC6-491D-84DC-1B6757D5EF98}">
      <dgm:prSet phldrT="[Text]"/>
      <dgm:spPr/>
      <dgm:t>
        <a:bodyPr/>
        <a:lstStyle/>
        <a:p>
          <a:r>
            <a:rPr lang="id-ID" dirty="0" smtClean="0"/>
            <a:t>RANK C</a:t>
          </a:r>
        </a:p>
      </dgm:t>
    </dgm:pt>
    <dgm:pt modelId="{E8BE1994-4BC0-40C7-AB43-17A23DF8B7FF}" type="parTrans" cxnId="{1F85C7B2-1FC0-4F5E-9D0B-2D5E3DBB20AD}">
      <dgm:prSet/>
      <dgm:spPr/>
      <dgm:t>
        <a:bodyPr/>
        <a:lstStyle/>
        <a:p>
          <a:endParaRPr lang="id-ID"/>
        </a:p>
      </dgm:t>
    </dgm:pt>
    <dgm:pt modelId="{2EDA950A-62BD-41AE-A967-48D4B11F7FEB}" type="sibTrans" cxnId="{1F85C7B2-1FC0-4F5E-9D0B-2D5E3DBB20AD}">
      <dgm:prSet/>
      <dgm:spPr/>
      <dgm:t>
        <a:bodyPr/>
        <a:lstStyle/>
        <a:p>
          <a:endParaRPr lang="id-ID"/>
        </a:p>
      </dgm:t>
    </dgm:pt>
    <dgm:pt modelId="{B2E66C9E-D090-4A9A-ABBD-0FE0E34E9D45}">
      <dgm:prSet phldrT="[Text]"/>
      <dgm:spPr/>
      <dgm:t>
        <a:bodyPr/>
        <a:lstStyle/>
        <a:p>
          <a:pPr algn="ctr"/>
          <a:r>
            <a:rPr lang="id-ID" dirty="0" smtClean="0"/>
            <a:t>SLOW MOVING</a:t>
          </a:r>
          <a:endParaRPr lang="id-ID" dirty="0"/>
        </a:p>
      </dgm:t>
    </dgm:pt>
    <dgm:pt modelId="{4F0190C9-AB68-4F6E-AA44-750AD3FEAE49}" type="parTrans" cxnId="{E9361C78-5BD7-4C07-9E83-05E17A883FEB}">
      <dgm:prSet/>
      <dgm:spPr/>
      <dgm:t>
        <a:bodyPr/>
        <a:lstStyle/>
        <a:p>
          <a:endParaRPr lang="id-ID"/>
        </a:p>
      </dgm:t>
    </dgm:pt>
    <dgm:pt modelId="{7B23F58D-0AFC-44AA-8A68-24EF6ADF15ED}" type="sibTrans" cxnId="{E9361C78-5BD7-4C07-9E83-05E17A883FEB}">
      <dgm:prSet/>
      <dgm:spPr/>
      <dgm:t>
        <a:bodyPr/>
        <a:lstStyle/>
        <a:p>
          <a:endParaRPr lang="id-ID"/>
        </a:p>
      </dgm:t>
    </dgm:pt>
    <dgm:pt modelId="{AF579E68-DBBE-451E-A4B4-901C7C1D7E2E}">
      <dgm:prSet phldrT="[Text]"/>
      <dgm:spPr/>
      <dgm:t>
        <a:bodyPr/>
        <a:lstStyle/>
        <a:p>
          <a:pPr algn="ctr"/>
          <a:r>
            <a:rPr lang="id-ID" dirty="0" smtClean="0"/>
            <a:t>1% - 80% Demand</a:t>
          </a:r>
          <a:endParaRPr lang="id-ID" dirty="0"/>
        </a:p>
      </dgm:t>
    </dgm:pt>
    <dgm:pt modelId="{EBD9B596-9D38-44BD-A3F9-C5B04FDABA34}" type="parTrans" cxnId="{25AC908B-F1DD-48AF-825F-4C033D3B46DF}">
      <dgm:prSet/>
      <dgm:spPr/>
      <dgm:t>
        <a:bodyPr/>
        <a:lstStyle/>
        <a:p>
          <a:endParaRPr lang="id-ID"/>
        </a:p>
      </dgm:t>
    </dgm:pt>
    <dgm:pt modelId="{52003D23-C9C2-4CE9-AA47-A647A94E8E2B}" type="sibTrans" cxnId="{25AC908B-F1DD-48AF-825F-4C033D3B46DF}">
      <dgm:prSet/>
      <dgm:spPr/>
      <dgm:t>
        <a:bodyPr/>
        <a:lstStyle/>
        <a:p>
          <a:endParaRPr lang="id-ID"/>
        </a:p>
      </dgm:t>
    </dgm:pt>
    <dgm:pt modelId="{40ED1AB5-1818-4797-8668-49DB8A00DDDF}">
      <dgm:prSet/>
      <dgm:spPr/>
      <dgm:t>
        <a:bodyPr/>
        <a:lstStyle/>
        <a:p>
          <a:pPr algn="ctr"/>
          <a:r>
            <a:rPr lang="id-ID" dirty="0" smtClean="0"/>
            <a:t>80% - 90% Demand</a:t>
          </a:r>
          <a:endParaRPr lang="id-ID" dirty="0"/>
        </a:p>
      </dgm:t>
    </dgm:pt>
    <dgm:pt modelId="{C16522B1-2DE1-4456-AB7C-D5175FE7C870}" type="parTrans" cxnId="{33C73C80-5538-4BBD-856C-D136B5B8EE65}">
      <dgm:prSet/>
      <dgm:spPr/>
      <dgm:t>
        <a:bodyPr/>
        <a:lstStyle/>
        <a:p>
          <a:endParaRPr lang="id-ID"/>
        </a:p>
      </dgm:t>
    </dgm:pt>
    <dgm:pt modelId="{3D804EC1-9CF6-439F-9533-477D08A65250}" type="sibTrans" cxnId="{33C73C80-5538-4BBD-856C-D136B5B8EE65}">
      <dgm:prSet/>
      <dgm:spPr/>
      <dgm:t>
        <a:bodyPr/>
        <a:lstStyle/>
        <a:p>
          <a:endParaRPr lang="id-ID"/>
        </a:p>
      </dgm:t>
    </dgm:pt>
    <dgm:pt modelId="{BBF97F43-C07B-4A9C-9E57-B1DEF88BDE2E}">
      <dgm:prSet/>
      <dgm:spPr/>
      <dgm:t>
        <a:bodyPr/>
        <a:lstStyle/>
        <a:p>
          <a:pPr algn="ctr"/>
          <a:r>
            <a:rPr lang="id-ID" dirty="0" smtClean="0"/>
            <a:t>90% - 95% Demand</a:t>
          </a:r>
          <a:endParaRPr lang="id-ID" dirty="0"/>
        </a:p>
      </dgm:t>
    </dgm:pt>
    <dgm:pt modelId="{F38ED351-5E8E-4037-A49F-66B6DE2167C8}" type="parTrans" cxnId="{AE4CE4A2-0D78-4FB0-AD9C-348950229F92}">
      <dgm:prSet/>
      <dgm:spPr/>
      <dgm:t>
        <a:bodyPr/>
        <a:lstStyle/>
        <a:p>
          <a:endParaRPr lang="id-ID"/>
        </a:p>
      </dgm:t>
    </dgm:pt>
    <dgm:pt modelId="{3F952043-F62C-4A8F-8AF8-8767BEF6D63E}" type="sibTrans" cxnId="{AE4CE4A2-0D78-4FB0-AD9C-348950229F92}">
      <dgm:prSet/>
      <dgm:spPr/>
      <dgm:t>
        <a:bodyPr/>
        <a:lstStyle/>
        <a:p>
          <a:endParaRPr lang="id-ID"/>
        </a:p>
      </dgm:t>
    </dgm:pt>
    <dgm:pt modelId="{5E038214-2366-42F2-B95E-62E278C5DE47}">
      <dgm:prSet/>
      <dgm:spPr/>
      <dgm:t>
        <a:bodyPr/>
        <a:lstStyle/>
        <a:p>
          <a:r>
            <a:rPr lang="id-ID" dirty="0" smtClean="0"/>
            <a:t>RANK D</a:t>
          </a:r>
          <a:endParaRPr lang="id-ID" dirty="0"/>
        </a:p>
      </dgm:t>
    </dgm:pt>
    <dgm:pt modelId="{268EC010-984B-4888-AD6F-9CA8AE8B67BE}" type="parTrans" cxnId="{8C30D833-C10C-4943-A09F-9EA95E2F7C23}">
      <dgm:prSet/>
      <dgm:spPr/>
      <dgm:t>
        <a:bodyPr/>
        <a:lstStyle/>
        <a:p>
          <a:endParaRPr lang="id-ID"/>
        </a:p>
      </dgm:t>
    </dgm:pt>
    <dgm:pt modelId="{8C47F01F-FF3C-4D7B-9850-E327EBE3ADD8}" type="sibTrans" cxnId="{8C30D833-C10C-4943-A09F-9EA95E2F7C23}">
      <dgm:prSet/>
      <dgm:spPr/>
      <dgm:t>
        <a:bodyPr/>
        <a:lstStyle/>
        <a:p>
          <a:endParaRPr lang="id-ID"/>
        </a:p>
      </dgm:t>
    </dgm:pt>
    <dgm:pt modelId="{A44825BF-943B-4A26-A080-3C1383E8E722}">
      <dgm:prSet/>
      <dgm:spPr/>
      <dgm:t>
        <a:bodyPr/>
        <a:lstStyle/>
        <a:p>
          <a:pPr algn="ctr"/>
          <a:r>
            <a:rPr lang="id-ID" dirty="0" smtClean="0"/>
            <a:t>VERY SLOW MOVING</a:t>
          </a:r>
          <a:endParaRPr lang="id-ID" dirty="0"/>
        </a:p>
      </dgm:t>
    </dgm:pt>
    <dgm:pt modelId="{3075FA12-98B9-4D0C-823D-3CE05A22DC8D}" type="parTrans" cxnId="{B6CD2797-4BE4-4020-91C6-B51558379017}">
      <dgm:prSet/>
      <dgm:spPr/>
      <dgm:t>
        <a:bodyPr/>
        <a:lstStyle/>
        <a:p>
          <a:endParaRPr lang="id-ID"/>
        </a:p>
      </dgm:t>
    </dgm:pt>
    <dgm:pt modelId="{DE84BB6A-AB3C-4925-8340-1AA27213B7DD}" type="sibTrans" cxnId="{B6CD2797-4BE4-4020-91C6-B51558379017}">
      <dgm:prSet/>
      <dgm:spPr/>
      <dgm:t>
        <a:bodyPr/>
        <a:lstStyle/>
        <a:p>
          <a:endParaRPr lang="id-ID"/>
        </a:p>
      </dgm:t>
    </dgm:pt>
    <dgm:pt modelId="{3458D7CF-8F29-4B52-A7B7-32CD4093E88E}">
      <dgm:prSet/>
      <dgm:spPr/>
      <dgm:t>
        <a:bodyPr/>
        <a:lstStyle/>
        <a:p>
          <a:pPr algn="ctr"/>
          <a:r>
            <a:rPr lang="id-ID" dirty="0" smtClean="0"/>
            <a:t>95% - 100% Demand</a:t>
          </a:r>
          <a:endParaRPr lang="id-ID" dirty="0"/>
        </a:p>
      </dgm:t>
    </dgm:pt>
    <dgm:pt modelId="{D4009EC8-AE50-48A1-B8B8-5637FA99377A}" type="parTrans" cxnId="{AECE0BC5-E768-48FB-ACED-FF6623FFB8E1}">
      <dgm:prSet/>
      <dgm:spPr/>
      <dgm:t>
        <a:bodyPr/>
        <a:lstStyle/>
        <a:p>
          <a:endParaRPr lang="id-ID"/>
        </a:p>
      </dgm:t>
    </dgm:pt>
    <dgm:pt modelId="{8C591B19-03FB-4575-81AB-EB7E0C19EC7A}" type="sibTrans" cxnId="{AECE0BC5-E768-48FB-ACED-FF6623FFB8E1}">
      <dgm:prSet/>
      <dgm:spPr/>
      <dgm:t>
        <a:bodyPr/>
        <a:lstStyle/>
        <a:p>
          <a:endParaRPr lang="id-ID"/>
        </a:p>
      </dgm:t>
    </dgm:pt>
    <dgm:pt modelId="{E5126DF4-2C6A-4BB0-939F-E6E0AC77EE4B}">
      <dgm:prSet/>
      <dgm:spPr/>
      <dgm:t>
        <a:bodyPr/>
        <a:lstStyle/>
        <a:p>
          <a:r>
            <a:rPr lang="id-ID" dirty="0" smtClean="0"/>
            <a:t>RANK E</a:t>
          </a:r>
          <a:endParaRPr lang="id-ID" dirty="0"/>
        </a:p>
      </dgm:t>
    </dgm:pt>
    <dgm:pt modelId="{2E36520A-1B00-40C3-BDBE-65D8C0B1E8BF}" type="parTrans" cxnId="{66CD0252-5564-4F3C-BFE8-468363AEE6C1}">
      <dgm:prSet/>
      <dgm:spPr/>
      <dgm:t>
        <a:bodyPr/>
        <a:lstStyle/>
        <a:p>
          <a:endParaRPr lang="id-ID"/>
        </a:p>
      </dgm:t>
    </dgm:pt>
    <dgm:pt modelId="{B50C241E-769D-45BE-AA16-14AAC629AC1A}" type="sibTrans" cxnId="{66CD0252-5564-4F3C-BFE8-468363AEE6C1}">
      <dgm:prSet/>
      <dgm:spPr/>
      <dgm:t>
        <a:bodyPr/>
        <a:lstStyle/>
        <a:p>
          <a:endParaRPr lang="id-ID"/>
        </a:p>
      </dgm:t>
    </dgm:pt>
    <dgm:pt modelId="{255A67FF-8D3B-442F-B5CB-0D93C07A24A3}">
      <dgm:prSet/>
      <dgm:spPr/>
      <dgm:t>
        <a:bodyPr/>
        <a:lstStyle/>
        <a:p>
          <a:pPr algn="ctr"/>
          <a:r>
            <a:rPr lang="id-ID" dirty="0" smtClean="0"/>
            <a:t>DEATH STOCK</a:t>
          </a:r>
          <a:endParaRPr lang="id-ID" dirty="0"/>
        </a:p>
      </dgm:t>
    </dgm:pt>
    <dgm:pt modelId="{B5753800-3977-4716-9BE7-97DC8F7D3E17}" type="parTrans" cxnId="{7481F2D5-BB0E-4765-ABBE-2B0C63531CA1}">
      <dgm:prSet/>
      <dgm:spPr/>
      <dgm:t>
        <a:bodyPr/>
        <a:lstStyle/>
        <a:p>
          <a:endParaRPr lang="id-ID"/>
        </a:p>
      </dgm:t>
    </dgm:pt>
    <dgm:pt modelId="{6E4F3B25-12CD-4C31-887E-980F25D70942}" type="sibTrans" cxnId="{7481F2D5-BB0E-4765-ABBE-2B0C63531CA1}">
      <dgm:prSet/>
      <dgm:spPr/>
      <dgm:t>
        <a:bodyPr/>
        <a:lstStyle/>
        <a:p>
          <a:endParaRPr lang="id-ID"/>
        </a:p>
      </dgm:t>
    </dgm:pt>
    <dgm:pt modelId="{47F0ED3B-86CF-4634-82B0-2ED02C1287C1}">
      <dgm:prSet/>
      <dgm:spPr/>
      <dgm:t>
        <a:bodyPr/>
        <a:lstStyle/>
        <a:p>
          <a:pPr algn="ctr"/>
          <a:r>
            <a:rPr lang="id-ID" dirty="0" smtClean="0"/>
            <a:t>Tidak ada permintaan dalam 1 tahun</a:t>
          </a:r>
          <a:endParaRPr lang="id-ID" dirty="0"/>
        </a:p>
      </dgm:t>
    </dgm:pt>
    <dgm:pt modelId="{78885D7A-253C-4E52-BAA4-B71A97F28E42}" type="parTrans" cxnId="{397BDFEA-D2A6-4AC3-B466-9258CBDB5DBA}">
      <dgm:prSet/>
      <dgm:spPr/>
      <dgm:t>
        <a:bodyPr/>
        <a:lstStyle/>
        <a:p>
          <a:endParaRPr lang="id-ID"/>
        </a:p>
      </dgm:t>
    </dgm:pt>
    <dgm:pt modelId="{3AED40AA-06E2-4F00-AA60-7FC7C3C3C82A}" type="sibTrans" cxnId="{397BDFEA-D2A6-4AC3-B466-9258CBDB5DBA}">
      <dgm:prSet/>
      <dgm:spPr/>
      <dgm:t>
        <a:bodyPr/>
        <a:lstStyle/>
        <a:p>
          <a:endParaRPr lang="id-ID"/>
        </a:p>
      </dgm:t>
    </dgm:pt>
    <dgm:pt modelId="{F801D60A-D0F6-481A-AE4C-5EE94A2950BD}">
      <dgm:prSet/>
      <dgm:spPr/>
      <dgm:t>
        <a:bodyPr/>
        <a:lstStyle/>
        <a:p>
          <a:r>
            <a:rPr lang="id-ID" dirty="0" smtClean="0"/>
            <a:t>RANK F</a:t>
          </a:r>
          <a:endParaRPr lang="id-ID" dirty="0"/>
        </a:p>
      </dgm:t>
    </dgm:pt>
    <dgm:pt modelId="{1BDD5B2F-4D25-48E1-BC0B-ECB49FD93542}" type="parTrans" cxnId="{25758DC5-BE4A-42E1-92FA-9F8D1F57D65C}">
      <dgm:prSet/>
      <dgm:spPr/>
      <dgm:t>
        <a:bodyPr/>
        <a:lstStyle/>
        <a:p>
          <a:endParaRPr lang="id-ID"/>
        </a:p>
      </dgm:t>
    </dgm:pt>
    <dgm:pt modelId="{4D82C7B4-AD2C-4006-A02E-22BE47199728}" type="sibTrans" cxnId="{25758DC5-BE4A-42E1-92FA-9F8D1F57D65C}">
      <dgm:prSet/>
      <dgm:spPr/>
      <dgm:t>
        <a:bodyPr/>
        <a:lstStyle/>
        <a:p>
          <a:endParaRPr lang="id-ID"/>
        </a:p>
      </dgm:t>
    </dgm:pt>
    <dgm:pt modelId="{7E0C6F04-584D-4BAB-B853-B92C88FF2FA8}">
      <dgm:prSet/>
      <dgm:spPr/>
      <dgm:t>
        <a:bodyPr/>
        <a:lstStyle/>
        <a:p>
          <a:pPr algn="ctr"/>
          <a:r>
            <a:rPr lang="id-ID" smtClean="0"/>
            <a:t>NEW PRODUCT</a:t>
          </a:r>
          <a:endParaRPr lang="id-ID"/>
        </a:p>
      </dgm:t>
    </dgm:pt>
    <dgm:pt modelId="{CBF392B0-D898-4176-B4D1-E072DA04D004}" type="parTrans" cxnId="{10F62DDF-68BB-47F5-B40E-77B9E6EC65F3}">
      <dgm:prSet/>
      <dgm:spPr/>
      <dgm:t>
        <a:bodyPr/>
        <a:lstStyle/>
        <a:p>
          <a:endParaRPr lang="id-ID"/>
        </a:p>
      </dgm:t>
    </dgm:pt>
    <dgm:pt modelId="{8A13CA63-6B6E-4C1B-A0A1-DD75DA213893}" type="sibTrans" cxnId="{10F62DDF-68BB-47F5-B40E-77B9E6EC65F3}">
      <dgm:prSet/>
      <dgm:spPr/>
      <dgm:t>
        <a:bodyPr/>
        <a:lstStyle/>
        <a:p>
          <a:endParaRPr lang="id-ID"/>
        </a:p>
      </dgm:t>
    </dgm:pt>
    <dgm:pt modelId="{4C376B84-BEC8-4676-BF53-BF8C4E65604C}">
      <dgm:prSet/>
      <dgm:spPr/>
      <dgm:t>
        <a:bodyPr/>
        <a:lstStyle/>
        <a:p>
          <a:pPr algn="ctr"/>
          <a:r>
            <a:rPr lang="id-ID" smtClean="0"/>
            <a:t>PN baru yang berlaku selama 1 tahun</a:t>
          </a:r>
          <a:endParaRPr lang="id-ID" dirty="0" smtClean="0"/>
        </a:p>
      </dgm:t>
    </dgm:pt>
    <dgm:pt modelId="{1079F5B3-ABDD-4797-A21B-76238C40B4C4}" type="parTrans" cxnId="{08FD3B42-35F1-47AD-B3CF-06EBC5B7306B}">
      <dgm:prSet/>
      <dgm:spPr/>
      <dgm:t>
        <a:bodyPr/>
        <a:lstStyle/>
        <a:p>
          <a:endParaRPr lang="id-ID"/>
        </a:p>
      </dgm:t>
    </dgm:pt>
    <dgm:pt modelId="{E1317575-AED1-4413-BDAB-991A7A9C5E16}" type="sibTrans" cxnId="{08FD3B42-35F1-47AD-B3CF-06EBC5B7306B}">
      <dgm:prSet/>
      <dgm:spPr/>
      <dgm:t>
        <a:bodyPr/>
        <a:lstStyle/>
        <a:p>
          <a:endParaRPr lang="id-ID"/>
        </a:p>
      </dgm:t>
    </dgm:pt>
    <dgm:pt modelId="{92E91887-7DF0-4320-9081-C7F08BCE3BEA}" type="pres">
      <dgm:prSet presAssocID="{947C3BB4-EF94-4328-B131-6B67D73E259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d-ID"/>
        </a:p>
      </dgm:t>
    </dgm:pt>
    <dgm:pt modelId="{17D6AB75-EDD8-4565-A079-92C260FD26EE}" type="pres">
      <dgm:prSet presAssocID="{D3A839B3-051A-4087-AA7F-EC8792973A06}" presName="composite" presStyleCnt="0"/>
      <dgm:spPr/>
    </dgm:pt>
    <dgm:pt modelId="{D08BC43E-DB97-4317-8E73-7E1A146C5A9F}" type="pres">
      <dgm:prSet presAssocID="{D3A839B3-051A-4087-AA7F-EC8792973A06}" presName="parentText" presStyleLbl="align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CDDF615D-45E6-4A00-B7A3-E1ACA24B1446}" type="pres">
      <dgm:prSet presAssocID="{D3A839B3-051A-4087-AA7F-EC8792973A06}" presName="descendantText" presStyleLbl="alignAcc1" presStyleIdx="0" presStyleCnt="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174E4F71-3925-4A69-BBC4-DD79745A6E78}" type="pres">
      <dgm:prSet presAssocID="{664A58E1-BE4A-4E0D-BE95-8A4694CEE0BE}" presName="sp" presStyleCnt="0"/>
      <dgm:spPr/>
    </dgm:pt>
    <dgm:pt modelId="{FEEB153F-D8F8-4DA6-B787-E0B4F6BF585A}" type="pres">
      <dgm:prSet presAssocID="{40724A5E-4D45-4AF9-9BD4-819CCC0B5C13}" presName="composite" presStyleCnt="0"/>
      <dgm:spPr/>
    </dgm:pt>
    <dgm:pt modelId="{3B7D38E9-B503-4971-94E9-24BBFAD42252}" type="pres">
      <dgm:prSet presAssocID="{40724A5E-4D45-4AF9-9BD4-819CCC0B5C13}" presName="parentText" presStyleLbl="align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C22E4887-AD25-4D57-8497-5E37E1AE8E5C}" type="pres">
      <dgm:prSet presAssocID="{40724A5E-4D45-4AF9-9BD4-819CCC0B5C13}" presName="descendantText" presStyleLbl="alignAcc1" presStyleIdx="1" presStyleCnt="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410DCC27-A44C-4F80-A87A-093DFD48FEB5}" type="pres">
      <dgm:prSet presAssocID="{C5391B53-6CFF-46E5-BE9E-1D1246AFA815}" presName="sp" presStyleCnt="0"/>
      <dgm:spPr/>
    </dgm:pt>
    <dgm:pt modelId="{EADCCE67-75C8-475C-8FF2-93414C9AF00A}" type="pres">
      <dgm:prSet presAssocID="{073164CA-DFC6-491D-84DC-1B6757D5EF98}" presName="composite" presStyleCnt="0"/>
      <dgm:spPr/>
    </dgm:pt>
    <dgm:pt modelId="{ED3D4F16-7F5C-413A-921C-3DFF4F644EF9}" type="pres">
      <dgm:prSet presAssocID="{073164CA-DFC6-491D-84DC-1B6757D5EF98}" presName="parentText" presStyleLbl="align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02988122-066F-4607-89AA-48ADD7445F53}" type="pres">
      <dgm:prSet presAssocID="{073164CA-DFC6-491D-84DC-1B6757D5EF98}" presName="descendantText" presStyleLbl="alignAcc1" presStyleIdx="2" presStyleCnt="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BDBC3B5E-B838-4C3F-8619-5D97CA6A6693}" type="pres">
      <dgm:prSet presAssocID="{2EDA950A-62BD-41AE-A967-48D4B11F7FEB}" presName="sp" presStyleCnt="0"/>
      <dgm:spPr/>
    </dgm:pt>
    <dgm:pt modelId="{254CE308-0C00-4574-B0C4-7A279B867AB0}" type="pres">
      <dgm:prSet presAssocID="{5E038214-2366-42F2-B95E-62E278C5DE47}" presName="composite" presStyleCnt="0"/>
      <dgm:spPr/>
    </dgm:pt>
    <dgm:pt modelId="{39581F2C-482A-436F-91FB-D3911B370EF4}" type="pres">
      <dgm:prSet presAssocID="{5E038214-2366-42F2-B95E-62E278C5DE47}" presName="parentText" presStyleLbl="align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224889CF-B94F-4D49-952D-D5724D1437C9}" type="pres">
      <dgm:prSet presAssocID="{5E038214-2366-42F2-B95E-62E278C5DE47}" presName="descendantText" presStyleLbl="alignAcc1" presStyleIdx="3" presStyleCnt="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1990367E-B870-4DF5-AE7A-C9DF72A26B8B}" type="pres">
      <dgm:prSet presAssocID="{8C47F01F-FF3C-4D7B-9850-E327EBE3ADD8}" presName="sp" presStyleCnt="0"/>
      <dgm:spPr/>
    </dgm:pt>
    <dgm:pt modelId="{8E5E5E2E-7755-4046-8E91-FC423AE48A2D}" type="pres">
      <dgm:prSet presAssocID="{E5126DF4-2C6A-4BB0-939F-E6E0AC77EE4B}" presName="composite" presStyleCnt="0"/>
      <dgm:spPr/>
    </dgm:pt>
    <dgm:pt modelId="{7617CA8E-36E7-4CFE-8F74-45C75A69A534}" type="pres">
      <dgm:prSet presAssocID="{E5126DF4-2C6A-4BB0-939F-E6E0AC77EE4B}" presName="parentText" presStyleLbl="align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C37A058D-233C-4942-BD73-3D831E796EED}" type="pres">
      <dgm:prSet presAssocID="{E5126DF4-2C6A-4BB0-939F-E6E0AC77EE4B}" presName="descendantText" presStyleLbl="alignAcc1" presStyleIdx="4" presStyleCnt="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48C0586D-2442-48A0-8635-45085FB1D468}" type="pres">
      <dgm:prSet presAssocID="{B50C241E-769D-45BE-AA16-14AAC629AC1A}" presName="sp" presStyleCnt="0"/>
      <dgm:spPr/>
    </dgm:pt>
    <dgm:pt modelId="{D07B19C8-923E-49E0-9C50-8424CEACD67D}" type="pres">
      <dgm:prSet presAssocID="{F801D60A-D0F6-481A-AE4C-5EE94A2950BD}" presName="composite" presStyleCnt="0"/>
      <dgm:spPr/>
    </dgm:pt>
    <dgm:pt modelId="{9E572620-5722-4E3D-88B5-28189945FEA9}" type="pres">
      <dgm:prSet presAssocID="{F801D60A-D0F6-481A-AE4C-5EE94A2950BD}" presName="parentText" presStyleLbl="align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F1643C73-9592-43CF-B710-70FCF9D7E93A}" type="pres">
      <dgm:prSet presAssocID="{F801D60A-D0F6-481A-AE4C-5EE94A2950BD}" presName="descendantText" presStyleLbl="alignAcc1" presStyleIdx="5" presStyleCnt="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</dgm:ptLst>
  <dgm:cxnLst>
    <dgm:cxn modelId="{68E005AF-EFC7-49D9-8A93-5C7ED0A1E8DB}" type="presOf" srcId="{0F7996E8-7855-41A7-8A44-86DFC520AA9F}" destId="{CDDF615D-45E6-4A00-B7A3-E1ACA24B1446}" srcOrd="0" destOrd="0" presId="urn:microsoft.com/office/officeart/2005/8/layout/chevron2"/>
    <dgm:cxn modelId="{488348DD-60D0-4FAD-B8AA-2DF8F97E305A}" type="presOf" srcId="{255A67FF-8D3B-442F-B5CB-0D93C07A24A3}" destId="{C37A058D-233C-4942-BD73-3D831E796EED}" srcOrd="0" destOrd="0" presId="urn:microsoft.com/office/officeart/2005/8/layout/chevron2"/>
    <dgm:cxn modelId="{7B9318C3-CD0A-468C-AAC6-1A6879A9350D}" srcId="{947C3BB4-EF94-4328-B131-6B67D73E259E}" destId="{40724A5E-4D45-4AF9-9BD4-819CCC0B5C13}" srcOrd="1" destOrd="0" parTransId="{3D7214EE-F41A-4ABC-8BE6-4B39195CCD32}" sibTransId="{C5391B53-6CFF-46E5-BE9E-1D1246AFA815}"/>
    <dgm:cxn modelId="{7481F2D5-BB0E-4765-ABBE-2B0C63531CA1}" srcId="{E5126DF4-2C6A-4BB0-939F-E6E0AC77EE4B}" destId="{255A67FF-8D3B-442F-B5CB-0D93C07A24A3}" srcOrd="0" destOrd="0" parTransId="{B5753800-3977-4716-9BE7-97DC8F7D3E17}" sibTransId="{6E4F3B25-12CD-4C31-887E-980F25D70942}"/>
    <dgm:cxn modelId="{E4984ABE-7973-4DEF-9D8E-885EE11B8178}" srcId="{947C3BB4-EF94-4328-B131-6B67D73E259E}" destId="{D3A839B3-051A-4087-AA7F-EC8792973A06}" srcOrd="0" destOrd="0" parTransId="{8F2D7C9B-2468-4D86-A097-6794AC582486}" sibTransId="{664A58E1-BE4A-4E0D-BE95-8A4694CEE0BE}"/>
    <dgm:cxn modelId="{D1C32084-8CCF-4009-9FAB-5CC6D856C67B}" type="presOf" srcId="{B2E66C9E-D090-4A9A-ABBD-0FE0E34E9D45}" destId="{02988122-066F-4607-89AA-48ADD7445F53}" srcOrd="0" destOrd="0" presId="urn:microsoft.com/office/officeart/2005/8/layout/chevron2"/>
    <dgm:cxn modelId="{08FD3B42-35F1-47AD-B3CF-06EBC5B7306B}" srcId="{F801D60A-D0F6-481A-AE4C-5EE94A2950BD}" destId="{4C376B84-BEC8-4676-BF53-BF8C4E65604C}" srcOrd="1" destOrd="0" parTransId="{1079F5B3-ABDD-4797-A21B-76238C40B4C4}" sibTransId="{E1317575-AED1-4413-BDAB-991A7A9C5E16}"/>
    <dgm:cxn modelId="{569B5857-4FFB-4A3D-9418-5F53C361CBB0}" type="presOf" srcId="{7E0C6F04-584D-4BAB-B853-B92C88FF2FA8}" destId="{F1643C73-9592-43CF-B710-70FCF9D7E93A}" srcOrd="0" destOrd="0" presId="urn:microsoft.com/office/officeart/2005/8/layout/chevron2"/>
    <dgm:cxn modelId="{B1474605-18B4-47ED-94D4-051C385B48A2}" type="presOf" srcId="{073164CA-DFC6-491D-84DC-1B6757D5EF98}" destId="{ED3D4F16-7F5C-413A-921C-3DFF4F644EF9}" srcOrd="0" destOrd="0" presId="urn:microsoft.com/office/officeart/2005/8/layout/chevron2"/>
    <dgm:cxn modelId="{CA3E81FD-BC2D-4238-978B-367F5FAAA577}" type="presOf" srcId="{C43D30FB-0860-4BF2-BA82-052B7191813F}" destId="{C22E4887-AD25-4D57-8497-5E37E1AE8E5C}" srcOrd="0" destOrd="0" presId="urn:microsoft.com/office/officeart/2005/8/layout/chevron2"/>
    <dgm:cxn modelId="{25AC908B-F1DD-48AF-825F-4C033D3B46DF}" srcId="{D3A839B3-051A-4087-AA7F-EC8792973A06}" destId="{AF579E68-DBBE-451E-A4B4-901C7C1D7E2E}" srcOrd="1" destOrd="0" parTransId="{EBD9B596-9D38-44BD-A3F9-C5B04FDABA34}" sibTransId="{52003D23-C9C2-4CE9-AA47-A647A94E8E2B}"/>
    <dgm:cxn modelId="{0994BD1C-F619-4392-9A30-EA391AC995E7}" type="presOf" srcId="{BBF97F43-C07B-4A9C-9E57-B1DEF88BDE2E}" destId="{02988122-066F-4607-89AA-48ADD7445F53}" srcOrd="0" destOrd="1" presId="urn:microsoft.com/office/officeart/2005/8/layout/chevron2"/>
    <dgm:cxn modelId="{2EAB51BD-349D-49E7-8E4D-84B58A7FF68E}" type="presOf" srcId="{47F0ED3B-86CF-4634-82B0-2ED02C1287C1}" destId="{C37A058D-233C-4942-BD73-3D831E796EED}" srcOrd="0" destOrd="1" presId="urn:microsoft.com/office/officeart/2005/8/layout/chevron2"/>
    <dgm:cxn modelId="{397BDFEA-D2A6-4AC3-B466-9258CBDB5DBA}" srcId="{E5126DF4-2C6A-4BB0-939F-E6E0AC77EE4B}" destId="{47F0ED3B-86CF-4634-82B0-2ED02C1287C1}" srcOrd="1" destOrd="0" parTransId="{78885D7A-253C-4E52-BAA4-B71A97F28E42}" sibTransId="{3AED40AA-06E2-4F00-AA60-7FC7C3C3C82A}"/>
    <dgm:cxn modelId="{25758DC5-BE4A-42E1-92FA-9F8D1F57D65C}" srcId="{947C3BB4-EF94-4328-B131-6B67D73E259E}" destId="{F801D60A-D0F6-481A-AE4C-5EE94A2950BD}" srcOrd="5" destOrd="0" parTransId="{1BDD5B2F-4D25-48E1-BC0B-ECB49FD93542}" sibTransId="{4D82C7B4-AD2C-4006-A02E-22BE47199728}"/>
    <dgm:cxn modelId="{10F62DDF-68BB-47F5-B40E-77B9E6EC65F3}" srcId="{F801D60A-D0F6-481A-AE4C-5EE94A2950BD}" destId="{7E0C6F04-584D-4BAB-B853-B92C88FF2FA8}" srcOrd="0" destOrd="0" parTransId="{CBF392B0-D898-4176-B4D1-E072DA04D004}" sibTransId="{8A13CA63-6B6E-4C1B-A0A1-DD75DA213893}"/>
    <dgm:cxn modelId="{3CC2E56E-386D-4BF7-83AD-842F001FC380}" type="presOf" srcId="{3458D7CF-8F29-4B52-A7B7-32CD4093E88E}" destId="{224889CF-B94F-4D49-952D-D5724D1437C9}" srcOrd="0" destOrd="1" presId="urn:microsoft.com/office/officeart/2005/8/layout/chevron2"/>
    <dgm:cxn modelId="{66CD0252-5564-4F3C-BFE8-468363AEE6C1}" srcId="{947C3BB4-EF94-4328-B131-6B67D73E259E}" destId="{E5126DF4-2C6A-4BB0-939F-E6E0AC77EE4B}" srcOrd="4" destOrd="0" parTransId="{2E36520A-1B00-40C3-BDBE-65D8C0B1E8BF}" sibTransId="{B50C241E-769D-45BE-AA16-14AAC629AC1A}"/>
    <dgm:cxn modelId="{77D342AD-FEDA-43C5-9FF6-20B66EB29CD1}" type="presOf" srcId="{5E038214-2366-42F2-B95E-62E278C5DE47}" destId="{39581F2C-482A-436F-91FB-D3911B370EF4}" srcOrd="0" destOrd="0" presId="urn:microsoft.com/office/officeart/2005/8/layout/chevron2"/>
    <dgm:cxn modelId="{D1751EF2-1C5A-40F8-8E15-EBB67DD490D2}" type="presOf" srcId="{40724A5E-4D45-4AF9-9BD4-819CCC0B5C13}" destId="{3B7D38E9-B503-4971-94E9-24BBFAD42252}" srcOrd="0" destOrd="0" presId="urn:microsoft.com/office/officeart/2005/8/layout/chevron2"/>
    <dgm:cxn modelId="{D53E5F5E-CE80-457D-B989-2278AD282D39}" type="presOf" srcId="{A44825BF-943B-4A26-A080-3C1383E8E722}" destId="{224889CF-B94F-4D49-952D-D5724D1437C9}" srcOrd="0" destOrd="0" presId="urn:microsoft.com/office/officeart/2005/8/layout/chevron2"/>
    <dgm:cxn modelId="{AE4CE4A2-0D78-4FB0-AD9C-348950229F92}" srcId="{073164CA-DFC6-491D-84DC-1B6757D5EF98}" destId="{BBF97F43-C07B-4A9C-9E57-B1DEF88BDE2E}" srcOrd="1" destOrd="0" parTransId="{F38ED351-5E8E-4037-A49F-66B6DE2167C8}" sibTransId="{3F952043-F62C-4A8F-8AF8-8767BEF6D63E}"/>
    <dgm:cxn modelId="{DF255F0D-63C7-4460-84AE-515CE10C2E6C}" type="presOf" srcId="{F801D60A-D0F6-481A-AE4C-5EE94A2950BD}" destId="{9E572620-5722-4E3D-88B5-28189945FEA9}" srcOrd="0" destOrd="0" presId="urn:microsoft.com/office/officeart/2005/8/layout/chevron2"/>
    <dgm:cxn modelId="{8C30D833-C10C-4943-A09F-9EA95E2F7C23}" srcId="{947C3BB4-EF94-4328-B131-6B67D73E259E}" destId="{5E038214-2366-42F2-B95E-62E278C5DE47}" srcOrd="3" destOrd="0" parTransId="{268EC010-984B-4888-AD6F-9CA8AE8B67BE}" sibTransId="{8C47F01F-FF3C-4D7B-9850-E327EBE3ADD8}"/>
    <dgm:cxn modelId="{1F85C7B2-1FC0-4F5E-9D0B-2D5E3DBB20AD}" srcId="{947C3BB4-EF94-4328-B131-6B67D73E259E}" destId="{073164CA-DFC6-491D-84DC-1B6757D5EF98}" srcOrd="2" destOrd="0" parTransId="{E8BE1994-4BC0-40C7-AB43-17A23DF8B7FF}" sibTransId="{2EDA950A-62BD-41AE-A967-48D4B11F7FEB}"/>
    <dgm:cxn modelId="{B6CD2797-4BE4-4020-91C6-B51558379017}" srcId="{5E038214-2366-42F2-B95E-62E278C5DE47}" destId="{A44825BF-943B-4A26-A080-3C1383E8E722}" srcOrd="0" destOrd="0" parTransId="{3075FA12-98B9-4D0C-823D-3CE05A22DC8D}" sibTransId="{DE84BB6A-AB3C-4925-8340-1AA27213B7DD}"/>
    <dgm:cxn modelId="{901ABA36-5A7D-424B-8C28-88CFD4E8D995}" type="presOf" srcId="{947C3BB4-EF94-4328-B131-6B67D73E259E}" destId="{92E91887-7DF0-4320-9081-C7F08BCE3BEA}" srcOrd="0" destOrd="0" presId="urn:microsoft.com/office/officeart/2005/8/layout/chevron2"/>
    <dgm:cxn modelId="{0A176AE5-B8DB-4845-8249-9819C1148CAD}" srcId="{40724A5E-4D45-4AF9-9BD4-819CCC0B5C13}" destId="{C43D30FB-0860-4BF2-BA82-052B7191813F}" srcOrd="0" destOrd="0" parTransId="{5A70DE3C-2883-40FB-9E7B-26D7166E30AB}" sibTransId="{1F489ED9-5452-4393-AFDB-EC98AEC3F149}"/>
    <dgm:cxn modelId="{5EE822D5-2287-4B28-8A8B-52278D3662E9}" type="presOf" srcId="{E5126DF4-2C6A-4BB0-939F-E6E0AC77EE4B}" destId="{7617CA8E-36E7-4CFE-8F74-45C75A69A534}" srcOrd="0" destOrd="0" presId="urn:microsoft.com/office/officeart/2005/8/layout/chevron2"/>
    <dgm:cxn modelId="{26759ECD-04DE-44B4-BFA0-FF4C5F429CFE}" srcId="{D3A839B3-051A-4087-AA7F-EC8792973A06}" destId="{0F7996E8-7855-41A7-8A44-86DFC520AA9F}" srcOrd="0" destOrd="0" parTransId="{5CEF5720-20DD-4C5E-BF29-746A6B9B56A2}" sibTransId="{874F7BDC-B19B-4122-9E7D-B1AE921E53B5}"/>
    <dgm:cxn modelId="{BB0A4D75-701C-4A4F-AFF0-34C58D4F66BA}" type="presOf" srcId="{AF579E68-DBBE-451E-A4B4-901C7C1D7E2E}" destId="{CDDF615D-45E6-4A00-B7A3-E1ACA24B1446}" srcOrd="0" destOrd="1" presId="urn:microsoft.com/office/officeart/2005/8/layout/chevron2"/>
    <dgm:cxn modelId="{E9361C78-5BD7-4C07-9E83-05E17A883FEB}" srcId="{073164CA-DFC6-491D-84DC-1B6757D5EF98}" destId="{B2E66C9E-D090-4A9A-ABBD-0FE0E34E9D45}" srcOrd="0" destOrd="0" parTransId="{4F0190C9-AB68-4F6E-AA44-750AD3FEAE49}" sibTransId="{7B23F58D-0AFC-44AA-8A68-24EF6ADF15ED}"/>
    <dgm:cxn modelId="{8EE1F3A7-652F-4B03-92AD-734E24101818}" type="presOf" srcId="{40ED1AB5-1818-4797-8668-49DB8A00DDDF}" destId="{C22E4887-AD25-4D57-8497-5E37E1AE8E5C}" srcOrd="0" destOrd="1" presId="urn:microsoft.com/office/officeart/2005/8/layout/chevron2"/>
    <dgm:cxn modelId="{E0DC14DA-75C7-421F-BE39-FAE937DE71A8}" type="presOf" srcId="{D3A839B3-051A-4087-AA7F-EC8792973A06}" destId="{D08BC43E-DB97-4317-8E73-7E1A146C5A9F}" srcOrd="0" destOrd="0" presId="urn:microsoft.com/office/officeart/2005/8/layout/chevron2"/>
    <dgm:cxn modelId="{CF2BD6ED-02F6-413B-ACFC-8F0316837212}" type="presOf" srcId="{4C376B84-BEC8-4676-BF53-BF8C4E65604C}" destId="{F1643C73-9592-43CF-B710-70FCF9D7E93A}" srcOrd="0" destOrd="1" presId="urn:microsoft.com/office/officeart/2005/8/layout/chevron2"/>
    <dgm:cxn modelId="{AECE0BC5-E768-48FB-ACED-FF6623FFB8E1}" srcId="{5E038214-2366-42F2-B95E-62E278C5DE47}" destId="{3458D7CF-8F29-4B52-A7B7-32CD4093E88E}" srcOrd="1" destOrd="0" parTransId="{D4009EC8-AE50-48A1-B8B8-5637FA99377A}" sibTransId="{8C591B19-03FB-4575-81AB-EB7E0C19EC7A}"/>
    <dgm:cxn modelId="{33C73C80-5538-4BBD-856C-D136B5B8EE65}" srcId="{40724A5E-4D45-4AF9-9BD4-819CCC0B5C13}" destId="{40ED1AB5-1818-4797-8668-49DB8A00DDDF}" srcOrd="1" destOrd="0" parTransId="{C16522B1-2DE1-4456-AB7C-D5175FE7C870}" sibTransId="{3D804EC1-9CF6-439F-9533-477D08A65250}"/>
    <dgm:cxn modelId="{DA54D0B1-FDB1-487D-9B9B-5D151217CFB4}" type="presParOf" srcId="{92E91887-7DF0-4320-9081-C7F08BCE3BEA}" destId="{17D6AB75-EDD8-4565-A079-92C260FD26EE}" srcOrd="0" destOrd="0" presId="urn:microsoft.com/office/officeart/2005/8/layout/chevron2"/>
    <dgm:cxn modelId="{AB775E57-5BF9-460B-8F96-EB1C9A478FB6}" type="presParOf" srcId="{17D6AB75-EDD8-4565-A079-92C260FD26EE}" destId="{D08BC43E-DB97-4317-8E73-7E1A146C5A9F}" srcOrd="0" destOrd="0" presId="urn:microsoft.com/office/officeart/2005/8/layout/chevron2"/>
    <dgm:cxn modelId="{8EA5051B-14DF-4697-8F73-80656EC9084F}" type="presParOf" srcId="{17D6AB75-EDD8-4565-A079-92C260FD26EE}" destId="{CDDF615D-45E6-4A00-B7A3-E1ACA24B1446}" srcOrd="1" destOrd="0" presId="urn:microsoft.com/office/officeart/2005/8/layout/chevron2"/>
    <dgm:cxn modelId="{269E0C01-6CB2-44D0-8C5E-B3C07F39B901}" type="presParOf" srcId="{92E91887-7DF0-4320-9081-C7F08BCE3BEA}" destId="{174E4F71-3925-4A69-BBC4-DD79745A6E78}" srcOrd="1" destOrd="0" presId="urn:microsoft.com/office/officeart/2005/8/layout/chevron2"/>
    <dgm:cxn modelId="{94BFF2AE-F842-467E-9173-CC5020C2F4C0}" type="presParOf" srcId="{92E91887-7DF0-4320-9081-C7F08BCE3BEA}" destId="{FEEB153F-D8F8-4DA6-B787-E0B4F6BF585A}" srcOrd="2" destOrd="0" presId="urn:microsoft.com/office/officeart/2005/8/layout/chevron2"/>
    <dgm:cxn modelId="{98A300D2-4DD2-49D9-B389-8D232D8F1786}" type="presParOf" srcId="{FEEB153F-D8F8-4DA6-B787-E0B4F6BF585A}" destId="{3B7D38E9-B503-4971-94E9-24BBFAD42252}" srcOrd="0" destOrd="0" presId="urn:microsoft.com/office/officeart/2005/8/layout/chevron2"/>
    <dgm:cxn modelId="{C0146AC3-8BD1-4BD3-8A08-5D1AD33D5F74}" type="presParOf" srcId="{FEEB153F-D8F8-4DA6-B787-E0B4F6BF585A}" destId="{C22E4887-AD25-4D57-8497-5E37E1AE8E5C}" srcOrd="1" destOrd="0" presId="urn:microsoft.com/office/officeart/2005/8/layout/chevron2"/>
    <dgm:cxn modelId="{83B91CC1-793A-42A3-8F8F-133BD866B31A}" type="presParOf" srcId="{92E91887-7DF0-4320-9081-C7F08BCE3BEA}" destId="{410DCC27-A44C-4F80-A87A-093DFD48FEB5}" srcOrd="3" destOrd="0" presId="urn:microsoft.com/office/officeart/2005/8/layout/chevron2"/>
    <dgm:cxn modelId="{0281A4C5-37DA-47F5-95D8-983222FCAF57}" type="presParOf" srcId="{92E91887-7DF0-4320-9081-C7F08BCE3BEA}" destId="{EADCCE67-75C8-475C-8FF2-93414C9AF00A}" srcOrd="4" destOrd="0" presId="urn:microsoft.com/office/officeart/2005/8/layout/chevron2"/>
    <dgm:cxn modelId="{C4BA3807-0FCF-4752-9E7E-8E313B670BB0}" type="presParOf" srcId="{EADCCE67-75C8-475C-8FF2-93414C9AF00A}" destId="{ED3D4F16-7F5C-413A-921C-3DFF4F644EF9}" srcOrd="0" destOrd="0" presId="urn:microsoft.com/office/officeart/2005/8/layout/chevron2"/>
    <dgm:cxn modelId="{C551E729-9C0A-4069-902A-37D332451BA5}" type="presParOf" srcId="{EADCCE67-75C8-475C-8FF2-93414C9AF00A}" destId="{02988122-066F-4607-89AA-48ADD7445F53}" srcOrd="1" destOrd="0" presId="urn:microsoft.com/office/officeart/2005/8/layout/chevron2"/>
    <dgm:cxn modelId="{E136BFDE-1DBE-47F3-A3AD-B399C9368A4E}" type="presParOf" srcId="{92E91887-7DF0-4320-9081-C7F08BCE3BEA}" destId="{BDBC3B5E-B838-4C3F-8619-5D97CA6A6693}" srcOrd="5" destOrd="0" presId="urn:microsoft.com/office/officeart/2005/8/layout/chevron2"/>
    <dgm:cxn modelId="{EC5982DA-E938-4EEC-A681-BCA74C00742E}" type="presParOf" srcId="{92E91887-7DF0-4320-9081-C7F08BCE3BEA}" destId="{254CE308-0C00-4574-B0C4-7A279B867AB0}" srcOrd="6" destOrd="0" presId="urn:microsoft.com/office/officeart/2005/8/layout/chevron2"/>
    <dgm:cxn modelId="{73A83B7C-29C4-4CBD-835A-6745C991BBB2}" type="presParOf" srcId="{254CE308-0C00-4574-B0C4-7A279B867AB0}" destId="{39581F2C-482A-436F-91FB-D3911B370EF4}" srcOrd="0" destOrd="0" presId="urn:microsoft.com/office/officeart/2005/8/layout/chevron2"/>
    <dgm:cxn modelId="{2B1A9A39-CBE8-4457-9CB9-11B719317C3B}" type="presParOf" srcId="{254CE308-0C00-4574-B0C4-7A279B867AB0}" destId="{224889CF-B94F-4D49-952D-D5724D1437C9}" srcOrd="1" destOrd="0" presId="urn:microsoft.com/office/officeart/2005/8/layout/chevron2"/>
    <dgm:cxn modelId="{DF9ADE90-F2B1-4F1D-93CD-14EB95F9CDA4}" type="presParOf" srcId="{92E91887-7DF0-4320-9081-C7F08BCE3BEA}" destId="{1990367E-B870-4DF5-AE7A-C9DF72A26B8B}" srcOrd="7" destOrd="0" presId="urn:microsoft.com/office/officeart/2005/8/layout/chevron2"/>
    <dgm:cxn modelId="{43E4278A-4DE1-4E86-8A4E-EBF70C4C7608}" type="presParOf" srcId="{92E91887-7DF0-4320-9081-C7F08BCE3BEA}" destId="{8E5E5E2E-7755-4046-8E91-FC423AE48A2D}" srcOrd="8" destOrd="0" presId="urn:microsoft.com/office/officeart/2005/8/layout/chevron2"/>
    <dgm:cxn modelId="{75DFEDA7-9A9A-4A39-993B-F2032532E53F}" type="presParOf" srcId="{8E5E5E2E-7755-4046-8E91-FC423AE48A2D}" destId="{7617CA8E-36E7-4CFE-8F74-45C75A69A534}" srcOrd="0" destOrd="0" presId="urn:microsoft.com/office/officeart/2005/8/layout/chevron2"/>
    <dgm:cxn modelId="{D2BAF3C7-74B0-4A54-BD95-0974BEE2A837}" type="presParOf" srcId="{8E5E5E2E-7755-4046-8E91-FC423AE48A2D}" destId="{C37A058D-233C-4942-BD73-3D831E796EED}" srcOrd="1" destOrd="0" presId="urn:microsoft.com/office/officeart/2005/8/layout/chevron2"/>
    <dgm:cxn modelId="{DC686947-79DF-4A46-8EB6-76FED9502A63}" type="presParOf" srcId="{92E91887-7DF0-4320-9081-C7F08BCE3BEA}" destId="{48C0586D-2442-48A0-8635-45085FB1D468}" srcOrd="9" destOrd="0" presId="urn:microsoft.com/office/officeart/2005/8/layout/chevron2"/>
    <dgm:cxn modelId="{76D6282B-E9E3-47D1-A0DC-EF619239BD39}" type="presParOf" srcId="{92E91887-7DF0-4320-9081-C7F08BCE3BEA}" destId="{D07B19C8-923E-49E0-9C50-8424CEACD67D}" srcOrd="10" destOrd="0" presId="urn:microsoft.com/office/officeart/2005/8/layout/chevron2"/>
    <dgm:cxn modelId="{84490309-86F3-47BD-B0F6-1AB411D75908}" type="presParOf" srcId="{D07B19C8-923E-49E0-9C50-8424CEACD67D}" destId="{9E572620-5722-4E3D-88B5-28189945FEA9}" srcOrd="0" destOrd="0" presId="urn:microsoft.com/office/officeart/2005/8/layout/chevron2"/>
    <dgm:cxn modelId="{3C628F22-8FAC-41C1-9965-0376745DDDA7}" type="presParOf" srcId="{D07B19C8-923E-49E0-9C50-8424CEACD67D}" destId="{F1643C73-9592-43CF-B710-70FCF9D7E93A}" srcOrd="1" destOrd="0" presId="urn:microsoft.com/office/officeart/2005/8/layout/chevron2"/>
  </dgm:cxnLst>
  <dgm:bg/>
  <dgm:whole/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5DC9899-96DA-4900-BD05-DA8157C887B2}">
      <dsp:nvSpPr>
        <dsp:cNvPr id="0" name=""/>
        <dsp:cNvSpPr/>
      </dsp:nvSpPr>
      <dsp:spPr>
        <a:xfrm>
          <a:off x="2212926" y="2134"/>
          <a:ext cx="3272551" cy="2121470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D" sz="1800" kern="1200" dirty="0" err="1" smtClean="0"/>
            <a:t>Stype</a:t>
          </a:r>
          <a:r>
            <a:rPr lang="en-ID" sz="1800" kern="1200" dirty="0" smtClean="0"/>
            <a:t> 900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D" sz="1800" kern="1200" dirty="0" err="1" smtClean="0"/>
            <a:t>Stype</a:t>
          </a:r>
          <a:r>
            <a:rPr lang="en-ID" sz="1800" kern="1200" dirty="0" smtClean="0"/>
            <a:t> 902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D" sz="1800" kern="1200" dirty="0" err="1" smtClean="0"/>
            <a:t>Stype</a:t>
          </a:r>
          <a:r>
            <a:rPr lang="en-ID" sz="1800" kern="1200" dirty="0" smtClean="0"/>
            <a:t> 916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D" sz="1800" kern="1200" dirty="0" err="1" smtClean="0"/>
            <a:t>Stype</a:t>
          </a:r>
          <a:r>
            <a:rPr lang="en-ID" sz="1800" kern="1200" dirty="0" smtClean="0"/>
            <a:t> 921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D" sz="1800" kern="1200" dirty="0" smtClean="0"/>
            <a:t>Emergency/Hotline</a:t>
          </a:r>
          <a:endParaRPr lang="en-US" sz="1800" kern="1200" dirty="0"/>
        </a:p>
      </dsp:txBody>
      <dsp:txXfrm>
        <a:off x="2212926" y="2134"/>
        <a:ext cx="3272551" cy="2121470"/>
      </dsp:txXfrm>
    </dsp:sp>
    <dsp:sp modelId="{7F2EDA1D-ADCD-4E81-9975-BCF78649418F}">
      <dsp:nvSpPr>
        <dsp:cNvPr id="0" name=""/>
        <dsp:cNvSpPr/>
      </dsp:nvSpPr>
      <dsp:spPr>
        <a:xfrm>
          <a:off x="921" y="167779"/>
          <a:ext cx="2212005" cy="1790181"/>
        </a:xfrm>
        <a:prstGeom prst="roundRect">
          <a:avLst/>
        </a:prstGeom>
        <a:gradFill rotWithShape="1">
          <a:gsLst>
            <a:gs pos="0">
              <a:schemeClr val="accent2">
                <a:shade val="51000"/>
                <a:satMod val="130000"/>
              </a:schemeClr>
            </a:gs>
            <a:gs pos="80000">
              <a:schemeClr val="accent2">
                <a:shade val="93000"/>
                <a:satMod val="130000"/>
              </a:schemeClr>
            </a:gs>
            <a:gs pos="100000">
              <a:schemeClr val="accent2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144780" tIns="72390" rIns="14478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D" sz="3800" kern="1200" dirty="0" err="1" smtClean="0"/>
            <a:t>Sloc</a:t>
          </a:r>
          <a:r>
            <a:rPr lang="en-ID" sz="3800" kern="1200" dirty="0" smtClean="0"/>
            <a:t> 1000</a:t>
          </a:r>
          <a:endParaRPr lang="en-US" sz="3800" kern="1200" dirty="0"/>
        </a:p>
      </dsp:txBody>
      <dsp:txXfrm>
        <a:off x="921" y="167779"/>
        <a:ext cx="2212005" cy="1790181"/>
      </dsp:txXfrm>
    </dsp:sp>
    <dsp:sp modelId="{D71398FB-9BD8-4528-89AE-5EF80E1E8B59}">
      <dsp:nvSpPr>
        <dsp:cNvPr id="0" name=""/>
        <dsp:cNvSpPr/>
      </dsp:nvSpPr>
      <dsp:spPr>
        <a:xfrm>
          <a:off x="2194559" y="2337887"/>
          <a:ext cx="3291840" cy="1548312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D" sz="1600" b="0" kern="1200" dirty="0" err="1" smtClean="0">
              <a:solidFill>
                <a:schemeClr val="bg1"/>
              </a:solidFill>
            </a:rPr>
            <a:t>Sloc</a:t>
          </a:r>
          <a:r>
            <a:rPr lang="en-ID" sz="1600" b="0" kern="1200" dirty="0" smtClean="0">
              <a:solidFill>
                <a:schemeClr val="bg1"/>
              </a:solidFill>
            </a:rPr>
            <a:t> 1101/1104</a:t>
          </a:r>
          <a:endParaRPr lang="en-US" sz="1600" b="0" kern="1200" dirty="0">
            <a:solidFill>
              <a:schemeClr val="bg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D" sz="1600" b="0" kern="1200" dirty="0" smtClean="0">
              <a:solidFill>
                <a:schemeClr val="bg1"/>
              </a:solidFill>
            </a:rPr>
            <a:t>1102, </a:t>
          </a:r>
          <a:r>
            <a:rPr lang="en-ID" sz="1600" b="0" kern="1200" dirty="0" smtClean="0">
              <a:solidFill>
                <a:schemeClr val="bg1"/>
              </a:solidFill>
            </a:rPr>
            <a:t>1103</a:t>
          </a:r>
          <a:endParaRPr lang="en-US" sz="1600" b="0" kern="1200" dirty="0">
            <a:solidFill>
              <a:schemeClr val="bg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D" sz="1600" b="0" kern="1200" dirty="0" err="1" smtClean="0">
              <a:solidFill>
                <a:schemeClr val="bg1"/>
              </a:solidFill>
            </a:rPr>
            <a:t>Canvasing</a:t>
          </a:r>
          <a:r>
            <a:rPr lang="en-ID" sz="1600" b="0" kern="1200" dirty="0" smtClean="0">
              <a:solidFill>
                <a:schemeClr val="bg1"/>
              </a:solidFill>
            </a:rPr>
            <a:t> &amp; Return</a:t>
          </a:r>
          <a:endParaRPr lang="en-US" sz="1600" b="0" kern="1200" dirty="0">
            <a:solidFill>
              <a:schemeClr val="bg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D" sz="1600" b="0" kern="1200" dirty="0" err="1" smtClean="0">
              <a:solidFill>
                <a:schemeClr val="bg1"/>
              </a:solidFill>
            </a:rPr>
            <a:t>Sloc</a:t>
          </a:r>
          <a:r>
            <a:rPr lang="en-ID" sz="1600" b="0" kern="1200" dirty="0" smtClean="0">
              <a:solidFill>
                <a:schemeClr val="bg1"/>
              </a:solidFill>
            </a:rPr>
            <a:t> SO</a:t>
          </a:r>
          <a:endParaRPr lang="en-US" sz="1600" b="0" kern="1200" dirty="0">
            <a:solidFill>
              <a:schemeClr val="bg1"/>
            </a:solidFill>
          </a:endParaRPr>
        </a:p>
      </dsp:txBody>
      <dsp:txXfrm>
        <a:off x="2194559" y="2337887"/>
        <a:ext cx="3291840" cy="1548312"/>
      </dsp:txXfrm>
    </dsp:sp>
    <dsp:sp modelId="{CCEA7023-C82B-458C-A3B3-7237BA257361}">
      <dsp:nvSpPr>
        <dsp:cNvPr id="0" name=""/>
        <dsp:cNvSpPr/>
      </dsp:nvSpPr>
      <dsp:spPr>
        <a:xfrm>
          <a:off x="0" y="2415766"/>
          <a:ext cx="2194560" cy="1470433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144780" tIns="72390" rIns="14478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D" sz="3800" kern="1200" dirty="0" err="1" smtClean="0"/>
            <a:t>Sloc</a:t>
          </a:r>
          <a:r>
            <a:rPr lang="en-ID" sz="3800" kern="1200" dirty="0" smtClean="0"/>
            <a:t> Non 1000</a:t>
          </a:r>
          <a:endParaRPr lang="en-US" sz="3800" kern="1200" dirty="0"/>
        </a:p>
      </dsp:txBody>
      <dsp:txXfrm>
        <a:off x="0" y="2415766"/>
        <a:ext cx="2194560" cy="14704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10.wmf"/><Relationship Id="rId3" Type="http://schemas.openxmlformats.org/officeDocument/2006/relationships/image" Target="../media/image5.wmf"/><Relationship Id="rId7" Type="http://schemas.openxmlformats.org/officeDocument/2006/relationships/image" Target="../media/image9.wmf"/><Relationship Id="rId2" Type="http://schemas.openxmlformats.org/officeDocument/2006/relationships/image" Target="../media/image4.wmf"/><Relationship Id="rId1" Type="http://schemas.openxmlformats.org/officeDocument/2006/relationships/image" Target="../media/image3.wmf"/><Relationship Id="rId6" Type="http://schemas.openxmlformats.org/officeDocument/2006/relationships/image" Target="../media/image8.wmf"/><Relationship Id="rId5" Type="http://schemas.openxmlformats.org/officeDocument/2006/relationships/image" Target="../media/image7.wmf"/><Relationship Id="rId4" Type="http://schemas.openxmlformats.org/officeDocument/2006/relationships/image" Target="../media/image6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D191EB-901F-4729-93FE-DB2D6CDA6439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4FF6E5-9CCD-4ECA-9CB2-E27D4B1C7474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76A0D-BF01-4E3A-AED0-7EBECBA145EC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D4889-98E7-4D69-A697-6F22C41115A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76A0D-BF01-4E3A-AED0-7EBECBA145EC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D4889-98E7-4D69-A697-6F22C41115A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76A0D-BF01-4E3A-AED0-7EBECBA145EC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D4889-98E7-4D69-A697-6F22C41115A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76A0D-BF01-4E3A-AED0-7EBECBA145EC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D4889-98E7-4D69-A697-6F22C41115A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76A0D-BF01-4E3A-AED0-7EBECBA145EC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D4889-98E7-4D69-A697-6F22C41115A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76A0D-BF01-4E3A-AED0-7EBECBA145EC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D4889-98E7-4D69-A697-6F22C41115A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76A0D-BF01-4E3A-AED0-7EBECBA145EC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D4889-98E7-4D69-A697-6F22C41115A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76A0D-BF01-4E3A-AED0-7EBECBA145EC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D4889-98E7-4D69-A697-6F22C41115A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76A0D-BF01-4E3A-AED0-7EBECBA145EC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D4889-98E7-4D69-A697-6F22C41115A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76A0D-BF01-4E3A-AED0-7EBECBA145EC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D4889-98E7-4D69-A697-6F22C41115A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76A0D-BF01-4E3A-AED0-7EBECBA145EC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D4889-98E7-4D69-A697-6F22C41115A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276A0D-BF01-4E3A-AED0-7EBECBA145EC}" type="datetimeFigureOut">
              <a:rPr lang="en-US" smtClean="0"/>
              <a:pPr/>
              <a:t>11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CD4889-98E7-4D69-A697-6F22C41115AD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3.bin"/><Relationship Id="rId11" Type="http://schemas.openxmlformats.org/officeDocument/2006/relationships/oleObject" Target="../embeddings/oleObject8.bin"/><Relationship Id="rId5" Type="http://schemas.openxmlformats.org/officeDocument/2006/relationships/oleObject" Target="../embeddings/oleObject2.bin"/><Relationship Id="rId10" Type="http://schemas.openxmlformats.org/officeDocument/2006/relationships/oleObject" Target="../embeddings/oleObject7.bin"/><Relationship Id="rId4" Type="http://schemas.openxmlformats.org/officeDocument/2006/relationships/oleObject" Target="../embeddings/oleObject1.bin"/><Relationship Id="rId9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diagramColors" Target="../diagrams/colors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oleObject" Target="../embeddings/oleObject9.bin"/><Relationship Id="rId4" Type="http://schemas.openxmlformats.org/officeDocument/2006/relationships/diagramData" Target="../diagrams/data1.xml"/><Relationship Id="rId9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Data" Target="../diagrams/data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microsoft.com/office/2007/relationships/diagramDrawing" Target="../diagrams/drawing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diagramColors" Target="../diagrams/colors3.xml"/><Relationship Id="rId12" Type="http://schemas.openxmlformats.org/officeDocument/2006/relationships/image" Target="../media/image1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diagramQuickStyle" Target="../diagrams/quickStyle3.xml"/><Relationship Id="rId11" Type="http://schemas.openxmlformats.org/officeDocument/2006/relationships/image" Target="../media/image2.png"/><Relationship Id="rId5" Type="http://schemas.openxmlformats.org/officeDocument/2006/relationships/diagramLayout" Target="../diagrams/layout3.xml"/><Relationship Id="rId10" Type="http://schemas.openxmlformats.org/officeDocument/2006/relationships/oleObject" Target="../embeddings/oleObject10.bin"/><Relationship Id="rId4" Type="http://schemas.openxmlformats.org/officeDocument/2006/relationships/diagramData" Target="../diagrams/data3.xml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Data" Target="../diagrams/data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Data" Target="../diagrams/data5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Data" Target="../diagrams/data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1981200" y="2690813"/>
            <a:ext cx="6781800" cy="814387"/>
          </a:xfrm>
        </p:spPr>
        <p:txBody>
          <a:bodyPr>
            <a:normAutofit lnSpcReduction="10000"/>
          </a:bodyPr>
          <a:lstStyle/>
          <a:p>
            <a:r>
              <a:rPr lang="id-ID" sz="4800" b="1" dirty="0" smtClean="0">
                <a:solidFill>
                  <a:srgbClr val="1C5F01"/>
                </a:solidFill>
              </a:rPr>
              <a:t>WAREHOUSE SPARE PART</a:t>
            </a:r>
            <a:endParaRPr lang="en-US" sz="4800" b="1" dirty="0">
              <a:solidFill>
                <a:srgbClr val="1C5F0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057400" y="3657600"/>
            <a:ext cx="293606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id-ID" sz="2000" b="1" dirty="0" smtClean="0">
                <a:solidFill>
                  <a:schemeClr val="bg2"/>
                </a:solidFill>
              </a:rPr>
              <a:t>Sabtu, 20 November 2021</a:t>
            </a:r>
            <a:endParaRPr lang="en-US" sz="2000" b="1" dirty="0">
              <a:solidFill>
                <a:schemeClr val="bg2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gradFill rotWithShape="1">
            <a:gsLst>
              <a:gs pos="0">
                <a:srgbClr val="000000"/>
              </a:gs>
              <a:gs pos="100000">
                <a:srgbClr val="FF0000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i="1">
                <a:solidFill>
                  <a:schemeClr val="bg1"/>
                </a:solidFill>
                <a:latin typeface="Calibri" pitchFamily="34" charset="0"/>
                <a:cs typeface="+mn-cs"/>
              </a:rPr>
              <a:t>    </a:t>
            </a:r>
            <a:endParaRPr lang="en-US" sz="2400" i="1">
              <a:solidFill>
                <a:schemeClr val="bg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905000" y="2106038"/>
            <a:ext cx="29718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d-ID" sz="3200" b="1" dirty="0" smtClean="0"/>
              <a:t>FUN LEARNING</a:t>
            </a:r>
            <a:endParaRPr lang="en-US" sz="3200" b="1" dirty="0"/>
          </a:p>
        </p:txBody>
      </p:sp>
      <p:sp>
        <p:nvSpPr>
          <p:cNvPr id="7" name="Rectangle 6"/>
          <p:cNvSpPr/>
          <p:nvPr>
            <p:custDataLst>
              <p:tags r:id="rId1"/>
            </p:custDataLst>
          </p:nvPr>
        </p:nvSpPr>
        <p:spPr>
          <a:xfrm>
            <a:off x="0" y="0"/>
            <a:ext cx="9144000" cy="514350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8" name="Picture 2" descr="C:\Users\louisi040697\AppData\Local\Microsoft\Windows\Temporary Internet Files\Content.Outlook\RD07AX3L\Logo Astra Motor Member of Astra (MD) (2)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6199" y="57150"/>
            <a:ext cx="1854907" cy="380999"/>
          </a:xfrm>
          <a:prstGeom prst="rect">
            <a:avLst/>
          </a:prstGeom>
          <a:noFill/>
        </p:spPr>
      </p:pic>
      <p:pic>
        <p:nvPicPr>
          <p:cNvPr id="10" name="Picture 9" descr="Logo-SATU-Indonesia-(All)---baru-(3)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6052" y="58250"/>
            <a:ext cx="905328" cy="45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Diagonal Stripe 16"/>
          <p:cNvSpPr/>
          <p:nvPr>
            <p:custDataLst>
              <p:tags r:id="rId3"/>
            </p:custDataLst>
          </p:nvPr>
        </p:nvSpPr>
        <p:spPr>
          <a:xfrm>
            <a:off x="0" y="3519055"/>
            <a:ext cx="8534400" cy="138545"/>
          </a:xfrm>
          <a:prstGeom prst="diagStrip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065209" y="4050268"/>
            <a:ext cx="10579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id-ID" sz="1600" b="1" dirty="0" smtClean="0">
                <a:solidFill>
                  <a:schemeClr val="bg1">
                    <a:lumMod val="85000"/>
                    <a:lumOff val="15000"/>
                  </a:schemeClr>
                </a:solidFill>
              </a:rPr>
              <a:t>Jufri Yelmi</a:t>
            </a:r>
            <a:endParaRPr lang="en-US" sz="1600" b="1" dirty="0">
              <a:solidFill>
                <a:schemeClr val="bg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0" y="6504801"/>
            <a:ext cx="2571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i="1" dirty="0" smtClean="0">
                <a:latin typeface="Arial" pitchFamily="34" charset="0"/>
                <a:cs typeface="Arial" pitchFamily="34" charset="0"/>
              </a:rPr>
              <a:t>Part Warehouse Bengkulu  </a:t>
            </a:r>
            <a:endParaRPr lang="en-US" sz="1200" i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jollif056315\Downloads\Terima kasih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304800" y="-228600"/>
            <a:ext cx="9753600" cy="73152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FFEFD1"/>
            </a:gs>
            <a:gs pos="64999">
              <a:srgbClr val="F0EBD5"/>
            </a:gs>
            <a:gs pos="100000">
              <a:srgbClr val="D1C39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34"/>
          <p:cNvGrpSpPr>
            <a:grpSpLocks/>
          </p:cNvGrpSpPr>
          <p:nvPr/>
        </p:nvGrpSpPr>
        <p:grpSpPr bwMode="auto">
          <a:xfrm>
            <a:off x="762000" y="4146550"/>
            <a:ext cx="1039813" cy="1555750"/>
            <a:chOff x="384" y="2208"/>
            <a:chExt cx="655" cy="980"/>
          </a:xfrm>
        </p:grpSpPr>
        <p:graphicFrame>
          <p:nvGraphicFramePr>
            <p:cNvPr id="10" name="Object 35"/>
            <p:cNvGraphicFramePr>
              <a:graphicFrameLocks noChangeAspect="1"/>
            </p:cNvGraphicFramePr>
            <p:nvPr/>
          </p:nvGraphicFramePr>
          <p:xfrm>
            <a:off x="432" y="2208"/>
            <a:ext cx="591" cy="750"/>
          </p:xfrm>
          <a:graphic>
            <a:graphicData uri="http://schemas.openxmlformats.org/presentationml/2006/ole">
              <p:oleObj spid="_x0000_s1027" name="Picture (32-bit)" r:id="rId4" imgW="1419120" imgH="1800360" progId="">
                <p:embed/>
              </p:oleObj>
            </a:graphicData>
          </a:graphic>
        </p:graphicFrame>
        <p:sp>
          <p:nvSpPr>
            <p:cNvPr id="11" name="Text Box 36"/>
            <p:cNvSpPr txBox="1">
              <a:spLocks noChangeArrowheads="1"/>
            </p:cNvSpPr>
            <p:nvPr/>
          </p:nvSpPr>
          <p:spPr bwMode="auto">
            <a:xfrm>
              <a:off x="384" y="2976"/>
              <a:ext cx="65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Tahoma" pitchFamily="34" charset="0"/>
                </a:rPr>
                <a:t>Customer</a:t>
              </a:r>
            </a:p>
          </p:txBody>
        </p:sp>
      </p:grpSp>
      <p:grpSp>
        <p:nvGrpSpPr>
          <p:cNvPr id="12" name="Group 45"/>
          <p:cNvGrpSpPr>
            <a:grpSpLocks/>
          </p:cNvGrpSpPr>
          <p:nvPr/>
        </p:nvGrpSpPr>
        <p:grpSpPr bwMode="auto">
          <a:xfrm>
            <a:off x="609600" y="2133601"/>
            <a:ext cx="2119313" cy="1100138"/>
            <a:chOff x="384" y="1468"/>
            <a:chExt cx="1335" cy="693"/>
          </a:xfrm>
        </p:grpSpPr>
        <p:grpSp>
          <p:nvGrpSpPr>
            <p:cNvPr id="13" name="Group 10"/>
            <p:cNvGrpSpPr>
              <a:grpSpLocks/>
            </p:cNvGrpSpPr>
            <p:nvPr/>
          </p:nvGrpSpPr>
          <p:grpSpPr bwMode="auto">
            <a:xfrm>
              <a:off x="384" y="1468"/>
              <a:ext cx="1207" cy="693"/>
              <a:chOff x="384" y="1392"/>
              <a:chExt cx="1207" cy="693"/>
            </a:xfrm>
          </p:grpSpPr>
          <p:graphicFrame>
            <p:nvGraphicFramePr>
              <p:cNvPr id="15" name="Object 11"/>
              <p:cNvGraphicFramePr>
                <a:graphicFrameLocks noChangeAspect="1"/>
              </p:cNvGraphicFramePr>
              <p:nvPr/>
            </p:nvGraphicFramePr>
            <p:xfrm>
              <a:off x="384" y="1392"/>
              <a:ext cx="1008" cy="443"/>
            </p:xfrm>
            <a:graphic>
              <a:graphicData uri="http://schemas.openxmlformats.org/presentationml/2006/ole">
                <p:oleObj spid="_x0000_s1028" name="Picture (32-bit)" r:id="rId5" imgW="3362400" imgH="1476360" progId="">
                  <p:embed/>
                </p:oleObj>
              </a:graphicData>
            </a:graphic>
          </p:graphicFrame>
          <p:sp>
            <p:nvSpPr>
              <p:cNvPr id="16" name="Text Box 12"/>
              <p:cNvSpPr txBox="1">
                <a:spLocks noChangeArrowheads="1"/>
              </p:cNvSpPr>
              <p:nvPr/>
            </p:nvSpPr>
            <p:spPr bwMode="auto">
              <a:xfrm>
                <a:off x="432" y="1872"/>
                <a:ext cx="1159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r>
                  <a:rPr lang="en-US" sz="1600" dirty="0" err="1">
                    <a:solidFill>
                      <a:schemeClr val="bg1"/>
                    </a:solidFill>
                    <a:latin typeface="Tahoma" pitchFamily="34" charset="0"/>
                  </a:rPr>
                  <a:t>Pabrik</a:t>
                </a:r>
                <a:r>
                  <a:rPr lang="en-US" sz="1600" dirty="0">
                    <a:solidFill>
                      <a:schemeClr val="bg1"/>
                    </a:solidFill>
                    <a:latin typeface="Tahoma" pitchFamily="34" charset="0"/>
                  </a:rPr>
                  <a:t> </a:t>
                </a:r>
                <a:r>
                  <a:rPr lang="en-US" sz="1600" dirty="0" smtClean="0">
                    <a:solidFill>
                      <a:schemeClr val="bg1"/>
                    </a:solidFill>
                    <a:latin typeface="Tahoma" pitchFamily="34" charset="0"/>
                  </a:rPr>
                  <a:t>parts</a:t>
                </a:r>
                <a:r>
                  <a:rPr lang="id-ID" sz="1600" dirty="0" smtClean="0">
                    <a:solidFill>
                      <a:schemeClr val="bg1"/>
                    </a:solidFill>
                    <a:latin typeface="Tahoma" pitchFamily="34" charset="0"/>
                  </a:rPr>
                  <a:t>/ATPM</a:t>
                </a:r>
                <a:endParaRPr lang="en-US" sz="1600" dirty="0">
                  <a:solidFill>
                    <a:schemeClr val="bg1"/>
                  </a:solidFill>
                  <a:latin typeface="Tahoma" pitchFamily="34" charset="0"/>
                </a:endParaRPr>
              </a:p>
            </p:txBody>
          </p:sp>
        </p:grpSp>
        <p:sp>
          <p:nvSpPr>
            <p:cNvPr id="14" name="AutoShape 37"/>
            <p:cNvSpPr>
              <a:spLocks noChangeArrowheads="1"/>
            </p:cNvSpPr>
            <p:nvPr/>
          </p:nvSpPr>
          <p:spPr bwMode="auto">
            <a:xfrm>
              <a:off x="1575" y="1613"/>
              <a:ext cx="144" cy="240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rgbClr val="CC00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d-ID"/>
            </a:p>
          </p:txBody>
        </p:sp>
      </p:grpSp>
      <p:grpSp>
        <p:nvGrpSpPr>
          <p:cNvPr id="17" name="Group 46"/>
          <p:cNvGrpSpPr>
            <a:grpSpLocks/>
          </p:cNvGrpSpPr>
          <p:nvPr/>
        </p:nvGrpSpPr>
        <p:grpSpPr bwMode="auto">
          <a:xfrm>
            <a:off x="3033713" y="2197100"/>
            <a:ext cx="1766887" cy="1077913"/>
            <a:chOff x="1910" y="1508"/>
            <a:chExt cx="1114" cy="679"/>
          </a:xfrm>
        </p:grpSpPr>
        <p:grpSp>
          <p:nvGrpSpPr>
            <p:cNvPr id="18" name="Group 77"/>
            <p:cNvGrpSpPr>
              <a:grpSpLocks/>
            </p:cNvGrpSpPr>
            <p:nvPr/>
          </p:nvGrpSpPr>
          <p:grpSpPr bwMode="auto">
            <a:xfrm>
              <a:off x="1910" y="1508"/>
              <a:ext cx="815" cy="679"/>
              <a:chOff x="1910" y="1488"/>
              <a:chExt cx="815" cy="679"/>
            </a:xfrm>
          </p:grpSpPr>
          <p:graphicFrame>
            <p:nvGraphicFramePr>
              <p:cNvPr id="20" name="Object 14"/>
              <p:cNvGraphicFramePr>
                <a:graphicFrameLocks noChangeAspect="1"/>
              </p:cNvGraphicFramePr>
              <p:nvPr/>
            </p:nvGraphicFramePr>
            <p:xfrm>
              <a:off x="1920" y="1488"/>
              <a:ext cx="630" cy="415"/>
            </p:xfrm>
            <a:graphic>
              <a:graphicData uri="http://schemas.openxmlformats.org/presentationml/2006/ole">
                <p:oleObj spid="_x0000_s1029" name="Picture (32-bit)" r:id="rId6" imgW="3067200" imgH="2019240" progId="">
                  <p:embed/>
                </p:oleObj>
              </a:graphicData>
            </a:graphic>
          </p:graphicFrame>
          <p:sp>
            <p:nvSpPr>
              <p:cNvPr id="21" name="Text Box 15"/>
              <p:cNvSpPr txBox="1">
                <a:spLocks noChangeArrowheads="1"/>
              </p:cNvSpPr>
              <p:nvPr/>
            </p:nvSpPr>
            <p:spPr bwMode="auto">
              <a:xfrm>
                <a:off x="1910" y="1955"/>
                <a:ext cx="815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r>
                  <a:rPr lang="en-US" sz="1600" dirty="0" err="1">
                    <a:solidFill>
                      <a:schemeClr val="bg1"/>
                    </a:solidFill>
                    <a:latin typeface="Tahoma" pitchFamily="34" charset="0"/>
                  </a:rPr>
                  <a:t>Transportasi</a:t>
                </a:r>
                <a:endParaRPr lang="en-US" sz="1600" dirty="0">
                  <a:solidFill>
                    <a:schemeClr val="bg1"/>
                  </a:solidFill>
                  <a:latin typeface="Tahoma" pitchFamily="34" charset="0"/>
                </a:endParaRPr>
              </a:p>
            </p:txBody>
          </p:sp>
        </p:grpSp>
        <p:sp>
          <p:nvSpPr>
            <p:cNvPr id="19" name="AutoShape 38"/>
            <p:cNvSpPr>
              <a:spLocks noChangeArrowheads="1"/>
            </p:cNvSpPr>
            <p:nvPr/>
          </p:nvSpPr>
          <p:spPr bwMode="auto">
            <a:xfrm>
              <a:off x="2880" y="1612"/>
              <a:ext cx="144" cy="240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rgbClr val="CC00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d-ID"/>
            </a:p>
          </p:txBody>
        </p:sp>
      </p:grpSp>
      <p:grpSp>
        <p:nvGrpSpPr>
          <p:cNvPr id="22" name="Group 47"/>
          <p:cNvGrpSpPr>
            <a:grpSpLocks/>
          </p:cNvGrpSpPr>
          <p:nvPr/>
        </p:nvGrpSpPr>
        <p:grpSpPr bwMode="auto">
          <a:xfrm>
            <a:off x="5181600" y="2133600"/>
            <a:ext cx="2133600" cy="1108075"/>
            <a:chOff x="3312" y="1468"/>
            <a:chExt cx="1344" cy="698"/>
          </a:xfrm>
        </p:grpSpPr>
        <p:grpSp>
          <p:nvGrpSpPr>
            <p:cNvPr id="23" name="Group 22"/>
            <p:cNvGrpSpPr>
              <a:grpSpLocks/>
            </p:cNvGrpSpPr>
            <p:nvPr/>
          </p:nvGrpSpPr>
          <p:grpSpPr bwMode="auto">
            <a:xfrm>
              <a:off x="3312" y="1468"/>
              <a:ext cx="1270" cy="698"/>
              <a:chOff x="3312" y="1392"/>
              <a:chExt cx="1270" cy="698"/>
            </a:xfrm>
          </p:grpSpPr>
          <p:graphicFrame>
            <p:nvGraphicFramePr>
              <p:cNvPr id="25" name="Object 17"/>
              <p:cNvGraphicFramePr>
                <a:graphicFrameLocks noChangeAspect="1"/>
              </p:cNvGraphicFramePr>
              <p:nvPr/>
            </p:nvGraphicFramePr>
            <p:xfrm>
              <a:off x="3312" y="1392"/>
              <a:ext cx="912" cy="471"/>
            </p:xfrm>
            <a:graphic>
              <a:graphicData uri="http://schemas.openxmlformats.org/presentationml/2006/ole">
                <p:oleObj spid="_x0000_s1030" name="Picture (32-bit)" r:id="rId7" imgW="3009960" imgH="1552680" progId="">
                  <p:embed/>
                </p:oleObj>
              </a:graphicData>
            </a:graphic>
          </p:graphicFrame>
          <p:sp>
            <p:nvSpPr>
              <p:cNvPr id="26" name="Text Box 18"/>
              <p:cNvSpPr txBox="1">
                <a:spLocks noChangeArrowheads="1"/>
              </p:cNvSpPr>
              <p:nvPr/>
            </p:nvSpPr>
            <p:spPr bwMode="auto">
              <a:xfrm>
                <a:off x="3420" y="1878"/>
                <a:ext cx="1162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r>
                  <a:rPr lang="en-US" sz="1600" b="1">
                    <a:solidFill>
                      <a:srgbClr val="FF0066"/>
                    </a:solidFill>
                    <a:latin typeface="Tahoma" pitchFamily="34" charset="0"/>
                  </a:rPr>
                  <a:t>AHM warehouse</a:t>
                </a:r>
              </a:p>
            </p:txBody>
          </p:sp>
        </p:grpSp>
        <p:sp>
          <p:nvSpPr>
            <p:cNvPr id="24" name="AutoShape 39"/>
            <p:cNvSpPr>
              <a:spLocks noChangeArrowheads="1"/>
            </p:cNvSpPr>
            <p:nvPr/>
          </p:nvSpPr>
          <p:spPr bwMode="auto">
            <a:xfrm>
              <a:off x="4512" y="1612"/>
              <a:ext cx="144" cy="240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rgbClr val="CC00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d-ID"/>
            </a:p>
          </p:txBody>
        </p:sp>
      </p:grpSp>
      <p:grpSp>
        <p:nvGrpSpPr>
          <p:cNvPr id="27" name="Group 48"/>
          <p:cNvGrpSpPr>
            <a:grpSpLocks/>
          </p:cNvGrpSpPr>
          <p:nvPr/>
        </p:nvGrpSpPr>
        <p:grpSpPr bwMode="auto">
          <a:xfrm>
            <a:off x="7315200" y="2165350"/>
            <a:ext cx="1295400" cy="1600200"/>
            <a:chOff x="4727" y="1756"/>
            <a:chExt cx="815" cy="1008"/>
          </a:xfrm>
        </p:grpSpPr>
        <p:grpSp>
          <p:nvGrpSpPr>
            <p:cNvPr id="28" name="Group 19"/>
            <p:cNvGrpSpPr>
              <a:grpSpLocks/>
            </p:cNvGrpSpPr>
            <p:nvPr/>
          </p:nvGrpSpPr>
          <p:grpSpPr bwMode="auto">
            <a:xfrm>
              <a:off x="4727" y="1756"/>
              <a:ext cx="815" cy="823"/>
              <a:chOff x="4727" y="1680"/>
              <a:chExt cx="815" cy="823"/>
            </a:xfrm>
          </p:grpSpPr>
          <p:graphicFrame>
            <p:nvGraphicFramePr>
              <p:cNvPr id="30" name="Object 20"/>
              <p:cNvGraphicFramePr>
                <a:graphicFrameLocks noChangeAspect="1"/>
              </p:cNvGraphicFramePr>
              <p:nvPr/>
            </p:nvGraphicFramePr>
            <p:xfrm>
              <a:off x="4896" y="1680"/>
              <a:ext cx="504" cy="582"/>
            </p:xfrm>
            <a:graphic>
              <a:graphicData uri="http://schemas.openxmlformats.org/presentationml/2006/ole">
                <p:oleObj spid="_x0000_s1031" name="Picture (32-bit)" r:id="rId8" imgW="800280" imgH="923760" progId="">
                  <p:embed/>
                </p:oleObj>
              </a:graphicData>
            </a:graphic>
          </p:graphicFrame>
          <p:sp>
            <p:nvSpPr>
              <p:cNvPr id="31" name="Text Box 21"/>
              <p:cNvSpPr txBox="1">
                <a:spLocks noChangeArrowheads="1"/>
              </p:cNvSpPr>
              <p:nvPr/>
            </p:nvSpPr>
            <p:spPr bwMode="auto">
              <a:xfrm>
                <a:off x="4727" y="2291"/>
                <a:ext cx="815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r>
                  <a:rPr lang="en-US" sz="1600" dirty="0" err="1">
                    <a:solidFill>
                      <a:schemeClr val="bg1"/>
                    </a:solidFill>
                    <a:latin typeface="Tahoma" pitchFamily="34" charset="0"/>
                  </a:rPr>
                  <a:t>Transportasi</a:t>
                </a:r>
                <a:endParaRPr lang="en-US" sz="1600" dirty="0">
                  <a:solidFill>
                    <a:schemeClr val="bg1"/>
                  </a:solidFill>
                  <a:latin typeface="Tahoma" pitchFamily="34" charset="0"/>
                </a:endParaRPr>
              </a:p>
            </p:txBody>
          </p:sp>
        </p:grpSp>
        <p:sp>
          <p:nvSpPr>
            <p:cNvPr id="29" name="AutoShape 40"/>
            <p:cNvSpPr>
              <a:spLocks noChangeArrowheads="1"/>
            </p:cNvSpPr>
            <p:nvPr/>
          </p:nvSpPr>
          <p:spPr bwMode="auto">
            <a:xfrm rot="5366215">
              <a:off x="5136" y="2572"/>
              <a:ext cx="144" cy="240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rgbClr val="CC00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d-ID"/>
            </a:p>
          </p:txBody>
        </p:sp>
      </p:grpSp>
      <p:grpSp>
        <p:nvGrpSpPr>
          <p:cNvPr id="32" name="Group 49"/>
          <p:cNvGrpSpPr>
            <a:grpSpLocks/>
          </p:cNvGrpSpPr>
          <p:nvPr/>
        </p:nvGrpSpPr>
        <p:grpSpPr bwMode="auto">
          <a:xfrm>
            <a:off x="6858000" y="4070350"/>
            <a:ext cx="1849438" cy="1295400"/>
            <a:chOff x="4560" y="3052"/>
            <a:chExt cx="1165" cy="929"/>
          </a:xfrm>
        </p:grpSpPr>
        <p:grpSp>
          <p:nvGrpSpPr>
            <p:cNvPr id="33" name="Group 22"/>
            <p:cNvGrpSpPr>
              <a:grpSpLocks/>
            </p:cNvGrpSpPr>
            <p:nvPr/>
          </p:nvGrpSpPr>
          <p:grpSpPr bwMode="auto">
            <a:xfrm>
              <a:off x="4800" y="3052"/>
              <a:ext cx="925" cy="929"/>
              <a:chOff x="4800" y="2976"/>
              <a:chExt cx="925" cy="929"/>
            </a:xfrm>
          </p:grpSpPr>
          <p:graphicFrame>
            <p:nvGraphicFramePr>
              <p:cNvPr id="35" name="Object 23"/>
              <p:cNvGraphicFramePr>
                <a:graphicFrameLocks noChangeAspect="1"/>
              </p:cNvGraphicFramePr>
              <p:nvPr/>
            </p:nvGraphicFramePr>
            <p:xfrm>
              <a:off x="4800" y="2976"/>
              <a:ext cx="672" cy="490"/>
            </p:xfrm>
            <a:graphic>
              <a:graphicData uri="http://schemas.openxmlformats.org/presentationml/2006/ole">
                <p:oleObj spid="_x0000_s1032" name="Picture (32-bit)" r:id="rId9" imgW="6400800" imgH="4667400" progId="">
                  <p:embed/>
                </p:oleObj>
              </a:graphicData>
            </a:graphic>
          </p:graphicFrame>
          <p:sp>
            <p:nvSpPr>
              <p:cNvPr id="36" name="Text Box 24"/>
              <p:cNvSpPr txBox="1">
                <a:spLocks noChangeArrowheads="1"/>
              </p:cNvSpPr>
              <p:nvPr/>
            </p:nvSpPr>
            <p:spPr bwMode="auto">
              <a:xfrm>
                <a:off x="4838" y="3539"/>
                <a:ext cx="887" cy="3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r>
                  <a:rPr lang="en-US" sz="1600" b="1">
                    <a:solidFill>
                      <a:srgbClr val="008080"/>
                    </a:solidFill>
                    <a:latin typeface="Tahoma" pitchFamily="34" charset="0"/>
                  </a:rPr>
                  <a:t>Warehouse</a:t>
                </a:r>
              </a:p>
              <a:p>
                <a:r>
                  <a:rPr lang="en-US" sz="1600" b="1">
                    <a:solidFill>
                      <a:srgbClr val="008080"/>
                    </a:solidFill>
                    <a:latin typeface="Tahoma" pitchFamily="34" charset="0"/>
                  </a:rPr>
                  <a:t>Main Dealer</a:t>
                </a:r>
              </a:p>
            </p:txBody>
          </p:sp>
        </p:grpSp>
        <p:sp>
          <p:nvSpPr>
            <p:cNvPr id="34" name="AutoShape 41"/>
            <p:cNvSpPr>
              <a:spLocks noChangeArrowheads="1"/>
            </p:cNvSpPr>
            <p:nvPr/>
          </p:nvSpPr>
          <p:spPr bwMode="auto">
            <a:xfrm rot="-10875450">
              <a:off x="4560" y="3676"/>
              <a:ext cx="144" cy="240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rgbClr val="CC00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d-ID"/>
            </a:p>
          </p:txBody>
        </p:sp>
      </p:grpSp>
      <p:grpSp>
        <p:nvGrpSpPr>
          <p:cNvPr id="37" name="Group 50"/>
          <p:cNvGrpSpPr>
            <a:grpSpLocks/>
          </p:cNvGrpSpPr>
          <p:nvPr/>
        </p:nvGrpSpPr>
        <p:grpSpPr bwMode="auto">
          <a:xfrm>
            <a:off x="4343400" y="4832354"/>
            <a:ext cx="2286000" cy="806451"/>
            <a:chOff x="2832" y="3676"/>
            <a:chExt cx="1488" cy="508"/>
          </a:xfrm>
        </p:grpSpPr>
        <p:grpSp>
          <p:nvGrpSpPr>
            <p:cNvPr id="38" name="Group 25"/>
            <p:cNvGrpSpPr>
              <a:grpSpLocks/>
            </p:cNvGrpSpPr>
            <p:nvPr/>
          </p:nvGrpSpPr>
          <p:grpSpPr bwMode="auto">
            <a:xfrm>
              <a:off x="3264" y="3676"/>
              <a:ext cx="1056" cy="508"/>
              <a:chOff x="3216" y="3456"/>
              <a:chExt cx="1056" cy="508"/>
            </a:xfrm>
          </p:grpSpPr>
          <p:graphicFrame>
            <p:nvGraphicFramePr>
              <p:cNvPr id="40" name="Object 26"/>
              <p:cNvGraphicFramePr>
                <a:graphicFrameLocks noChangeAspect="1"/>
              </p:cNvGraphicFramePr>
              <p:nvPr/>
            </p:nvGraphicFramePr>
            <p:xfrm>
              <a:off x="3216" y="3456"/>
              <a:ext cx="1056" cy="261"/>
            </p:xfrm>
            <a:graphic>
              <a:graphicData uri="http://schemas.openxmlformats.org/presentationml/2006/ole">
                <p:oleObj spid="_x0000_s1033" name="Picture (32-bit)" r:id="rId10" imgW="3467160" imgH="857160" progId="">
                  <p:embed/>
                </p:oleObj>
              </a:graphicData>
            </a:graphic>
          </p:graphicFrame>
          <p:sp>
            <p:nvSpPr>
              <p:cNvPr id="41" name="Text Box 27"/>
              <p:cNvSpPr txBox="1">
                <a:spLocks noChangeArrowheads="1"/>
              </p:cNvSpPr>
              <p:nvPr/>
            </p:nvSpPr>
            <p:spPr bwMode="auto">
              <a:xfrm>
                <a:off x="3344" y="3751"/>
                <a:ext cx="835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r>
                  <a:rPr lang="en-US" sz="1600" dirty="0" err="1">
                    <a:solidFill>
                      <a:schemeClr val="bg1"/>
                    </a:solidFill>
                    <a:latin typeface="Tahoma" pitchFamily="34" charset="0"/>
                  </a:rPr>
                  <a:t>Transportasi</a:t>
                </a:r>
                <a:endParaRPr lang="en-US" sz="1600" dirty="0">
                  <a:solidFill>
                    <a:schemeClr val="bg1"/>
                  </a:solidFill>
                  <a:latin typeface="Tahoma" pitchFamily="34" charset="0"/>
                </a:endParaRPr>
              </a:p>
            </p:txBody>
          </p:sp>
        </p:grpSp>
        <p:sp>
          <p:nvSpPr>
            <p:cNvPr id="39" name="AutoShape 42"/>
            <p:cNvSpPr>
              <a:spLocks noChangeArrowheads="1"/>
            </p:cNvSpPr>
            <p:nvPr/>
          </p:nvSpPr>
          <p:spPr bwMode="auto">
            <a:xfrm rot="10745169">
              <a:off x="2832" y="3676"/>
              <a:ext cx="144" cy="240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rgbClr val="CC00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d-ID"/>
            </a:p>
          </p:txBody>
        </p:sp>
      </p:grpSp>
      <p:grpSp>
        <p:nvGrpSpPr>
          <p:cNvPr id="42" name="Group 51"/>
          <p:cNvGrpSpPr>
            <a:grpSpLocks/>
          </p:cNvGrpSpPr>
          <p:nvPr/>
        </p:nvGrpSpPr>
        <p:grpSpPr bwMode="auto">
          <a:xfrm>
            <a:off x="2209802" y="4381502"/>
            <a:ext cx="1890714" cy="1322388"/>
            <a:chOff x="1584" y="3488"/>
            <a:chExt cx="1191" cy="833"/>
          </a:xfrm>
        </p:grpSpPr>
        <p:grpSp>
          <p:nvGrpSpPr>
            <p:cNvPr id="43" name="Group 28"/>
            <p:cNvGrpSpPr>
              <a:grpSpLocks/>
            </p:cNvGrpSpPr>
            <p:nvPr/>
          </p:nvGrpSpPr>
          <p:grpSpPr bwMode="auto">
            <a:xfrm>
              <a:off x="1776" y="3488"/>
              <a:ext cx="999" cy="833"/>
              <a:chOff x="1776" y="3412"/>
              <a:chExt cx="999" cy="833"/>
            </a:xfrm>
          </p:grpSpPr>
          <p:graphicFrame>
            <p:nvGraphicFramePr>
              <p:cNvPr id="45" name="Object 29"/>
              <p:cNvGraphicFramePr>
                <a:graphicFrameLocks noChangeAspect="1"/>
              </p:cNvGraphicFramePr>
              <p:nvPr/>
            </p:nvGraphicFramePr>
            <p:xfrm>
              <a:off x="1957" y="3412"/>
              <a:ext cx="720" cy="581"/>
            </p:xfrm>
            <a:graphic>
              <a:graphicData uri="http://schemas.openxmlformats.org/presentationml/2006/ole">
                <p:oleObj spid="_x0000_s1034" name="Picture (32-bit)" r:id="rId11" imgW="4295880" imgH="3467160" progId="">
                  <p:embed/>
                </p:oleObj>
              </a:graphicData>
            </a:graphic>
          </p:graphicFrame>
          <p:sp>
            <p:nvSpPr>
              <p:cNvPr id="46" name="Text Box 30"/>
              <p:cNvSpPr txBox="1">
                <a:spLocks noChangeArrowheads="1"/>
              </p:cNvSpPr>
              <p:nvPr/>
            </p:nvSpPr>
            <p:spPr bwMode="auto">
              <a:xfrm>
                <a:off x="1776" y="4032"/>
                <a:ext cx="999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r>
                  <a:rPr lang="en-US" sz="1600" b="1" dirty="0" smtClean="0">
                    <a:solidFill>
                      <a:srgbClr val="3333CC"/>
                    </a:solidFill>
                    <a:latin typeface="Tahoma" pitchFamily="34" charset="0"/>
                  </a:rPr>
                  <a:t>Dealer</a:t>
                </a:r>
                <a:r>
                  <a:rPr lang="id-ID" sz="1600" b="1" dirty="0" smtClean="0">
                    <a:solidFill>
                      <a:srgbClr val="3333CC"/>
                    </a:solidFill>
                    <a:latin typeface="Tahoma" pitchFamily="34" charset="0"/>
                  </a:rPr>
                  <a:t>/Ahass</a:t>
                </a:r>
                <a:endParaRPr lang="en-US" sz="1600" b="1" dirty="0">
                  <a:solidFill>
                    <a:srgbClr val="3333CC"/>
                  </a:solidFill>
                  <a:latin typeface="Tahoma" pitchFamily="34" charset="0"/>
                </a:endParaRPr>
              </a:p>
            </p:txBody>
          </p:sp>
        </p:grpSp>
        <p:sp>
          <p:nvSpPr>
            <p:cNvPr id="44" name="AutoShape 43"/>
            <p:cNvSpPr>
              <a:spLocks noChangeArrowheads="1"/>
            </p:cNvSpPr>
            <p:nvPr/>
          </p:nvSpPr>
          <p:spPr bwMode="auto">
            <a:xfrm rot="10601969">
              <a:off x="1584" y="3676"/>
              <a:ext cx="144" cy="240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rgbClr val="CC00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id-ID"/>
            </a:p>
          </p:txBody>
        </p:sp>
      </p:grpSp>
      <p:sp>
        <p:nvSpPr>
          <p:cNvPr id="47" name="Title 23"/>
          <p:cNvSpPr>
            <a:spLocks noGrp="1"/>
          </p:cNvSpPr>
          <p:nvPr>
            <p:ph type="title"/>
          </p:nvPr>
        </p:nvSpPr>
        <p:spPr>
          <a:xfrm>
            <a:off x="533400" y="762000"/>
            <a:ext cx="8183880" cy="701040"/>
          </a:xfrm>
        </p:spPr>
        <p:txBody>
          <a:bodyPr>
            <a:normAutofit/>
          </a:bodyPr>
          <a:lstStyle/>
          <a:p>
            <a:pPr algn="ctr"/>
            <a:r>
              <a:rPr lang="id-ID" sz="2400" b="1" dirty="0" smtClean="0">
                <a:solidFill>
                  <a:schemeClr val="bg1"/>
                </a:solidFill>
              </a:rPr>
              <a:t>RANTAI DISTRIBUSI HGP</a:t>
            </a:r>
            <a:endParaRPr lang="id-ID" sz="2400" b="1" dirty="0">
              <a:solidFill>
                <a:schemeClr val="bg1"/>
              </a:solidFill>
            </a:endParaRPr>
          </a:p>
        </p:txBody>
      </p:sp>
      <p:pic>
        <p:nvPicPr>
          <p:cNvPr id="49" name="Picture 48" descr="Logo-SATU-Indonesia-(All)---baru-(3)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6052" y="58250"/>
            <a:ext cx="905328" cy="45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49" descr="C:\Users\louisi040697\AppData\Local\Microsoft\Windows\Temporary Internet Files\Content.Outlook\RD07AX3L\Logo Astra Motor Member of Astra (MD) (2).png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126289" y="57151"/>
            <a:ext cx="1854911" cy="381000"/>
          </a:xfrm>
          <a:prstGeom prst="rect">
            <a:avLst/>
          </a:prstGeom>
          <a:noFill/>
        </p:spPr>
      </p:pic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gradFill rotWithShape="1">
            <a:gsLst>
              <a:gs pos="0">
                <a:srgbClr val="000000"/>
              </a:gs>
              <a:gs pos="100000">
                <a:srgbClr val="FF0000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i="1">
                <a:solidFill>
                  <a:schemeClr val="bg1"/>
                </a:solidFill>
                <a:latin typeface="Calibri" pitchFamily="34" charset="0"/>
                <a:cs typeface="+mn-cs"/>
              </a:rPr>
              <a:t>    </a:t>
            </a:r>
            <a:endParaRPr lang="en-US" sz="2400" i="1">
              <a:solidFill>
                <a:schemeClr val="bg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0" y="6504801"/>
            <a:ext cx="2571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i="1" dirty="0" smtClean="0">
                <a:latin typeface="Arial" pitchFamily="34" charset="0"/>
                <a:cs typeface="Arial" pitchFamily="34" charset="0"/>
              </a:rPr>
              <a:t>Part Warehouse Bengkulu  </a:t>
            </a:r>
            <a:endParaRPr lang="en-US" sz="1200" i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0"/>
                            </p:stCondLst>
                            <p:childTnLst>
                              <p:par>
                                <p:cTn id="9" presetID="5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0"/>
                            </p:stCondLst>
                            <p:childTnLst>
                              <p:par>
                                <p:cTn id="13" presetID="5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0"/>
                            </p:stCondLst>
                            <p:childTnLst>
                              <p:par>
                                <p:cTn id="17" presetID="5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0"/>
                            </p:stCondLst>
                            <p:childTnLst>
                              <p:par>
                                <p:cTn id="21" presetID="5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0"/>
                            </p:stCondLst>
                            <p:childTnLst>
                              <p:par>
                                <p:cTn id="25" presetID="5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0"/>
                            </p:stCondLst>
                            <p:childTnLst>
                              <p:par>
                                <p:cTn id="29" presetID="5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0"/>
                            </p:stCondLst>
                            <p:childTnLst>
                              <p:par>
                                <p:cTn id="33" presetID="2" presetClass="entr" presetSubtype="8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/>
        </p:nvGraphicFramePr>
        <p:xfrm>
          <a:off x="1143000" y="2133600"/>
          <a:ext cx="7239000" cy="3175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Title 23"/>
          <p:cNvSpPr txBox="1">
            <a:spLocks/>
          </p:cNvSpPr>
          <p:nvPr/>
        </p:nvSpPr>
        <p:spPr>
          <a:xfrm>
            <a:off x="502920" y="670560"/>
            <a:ext cx="8183880" cy="7010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LOW PROSES PENERIMAAN BARANG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" name="Picture 5" descr="Logo-SATU-Indonesia-(All)---baru-(3)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6052" y="58250"/>
            <a:ext cx="905328" cy="45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C:\Users\louisi040697\AppData\Local\Microsoft\Windows\Temporary Internet Files\Content.Outlook\RD07AX3L\Logo Astra Motor Member of Astra (MD) (2).png"/>
          <p:cNvPicPr>
            <a:picLocks noChangeAspect="1" noChangeArrowheads="1"/>
          </p:cNvPicPr>
          <p:nvPr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6289" y="57151"/>
            <a:ext cx="1854911" cy="381000"/>
          </a:xfrm>
          <a:prstGeom prst="rect">
            <a:avLst/>
          </a:prstGeom>
          <a:noFill/>
        </p:spPr>
      </p:pic>
      <p:grpSp>
        <p:nvGrpSpPr>
          <p:cNvPr id="9" name="Group 77"/>
          <p:cNvGrpSpPr>
            <a:grpSpLocks/>
          </p:cNvGrpSpPr>
          <p:nvPr/>
        </p:nvGrpSpPr>
        <p:grpSpPr bwMode="auto">
          <a:xfrm>
            <a:off x="533402" y="2184401"/>
            <a:ext cx="1170524" cy="1079501"/>
            <a:chOff x="1910" y="1488"/>
            <a:chExt cx="738" cy="680"/>
          </a:xfrm>
        </p:grpSpPr>
        <p:graphicFrame>
          <p:nvGraphicFramePr>
            <p:cNvPr id="11" name="Object 14"/>
            <p:cNvGraphicFramePr>
              <a:graphicFrameLocks noChangeAspect="1"/>
            </p:cNvGraphicFramePr>
            <p:nvPr/>
          </p:nvGraphicFramePr>
          <p:xfrm>
            <a:off x="1920" y="1488"/>
            <a:ext cx="630" cy="415"/>
          </p:xfrm>
          <a:graphic>
            <a:graphicData uri="http://schemas.openxmlformats.org/presentationml/2006/ole">
              <p:oleObj spid="_x0000_s17409" name="Picture (32-bit)" r:id="rId10" imgW="3067200" imgH="2019240" progId="">
                <p:embed/>
              </p:oleObj>
            </a:graphicData>
          </a:graphic>
        </p:graphicFrame>
        <p:sp>
          <p:nvSpPr>
            <p:cNvPr id="12" name="Text Box 15"/>
            <p:cNvSpPr txBox="1">
              <a:spLocks noChangeArrowheads="1"/>
            </p:cNvSpPr>
            <p:nvPr/>
          </p:nvSpPr>
          <p:spPr bwMode="auto">
            <a:xfrm>
              <a:off x="1910" y="1955"/>
              <a:ext cx="738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id-ID" sz="1600" dirty="0" smtClean="0">
                  <a:solidFill>
                    <a:schemeClr val="bg1"/>
                  </a:solidFill>
                  <a:latin typeface="Tahoma" pitchFamily="34" charset="0"/>
                </a:rPr>
                <a:t>EKSPEDISI</a:t>
              </a:r>
              <a:endParaRPr lang="en-US" sz="1600" dirty="0">
                <a:solidFill>
                  <a:schemeClr val="bg1"/>
                </a:solidFill>
                <a:latin typeface="Tahoma" pitchFamily="34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828800" y="2489200"/>
            <a:ext cx="420385" cy="491771"/>
            <a:chOff x="3397409" y="349265"/>
            <a:chExt cx="420385" cy="491771"/>
          </a:xfrm>
        </p:grpSpPr>
        <p:sp>
          <p:nvSpPr>
            <p:cNvPr id="14" name="Right Arrow 13"/>
            <p:cNvSpPr/>
            <p:nvPr/>
          </p:nvSpPr>
          <p:spPr>
            <a:xfrm>
              <a:off x="3397409" y="349265"/>
              <a:ext cx="420385" cy="491771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ight Arrow 4"/>
            <p:cNvSpPr/>
            <p:nvPr/>
          </p:nvSpPr>
          <p:spPr>
            <a:xfrm>
              <a:off x="3397409" y="447619"/>
              <a:ext cx="294270" cy="29506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id-ID" sz="1100" kern="1200"/>
            </a:p>
          </p:txBody>
        </p:sp>
      </p:grp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gradFill rotWithShape="1">
            <a:gsLst>
              <a:gs pos="0">
                <a:srgbClr val="000000"/>
              </a:gs>
              <a:gs pos="100000">
                <a:srgbClr val="FF0000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i="1">
                <a:solidFill>
                  <a:schemeClr val="bg1"/>
                </a:solidFill>
                <a:latin typeface="Calibri" pitchFamily="34" charset="0"/>
                <a:cs typeface="+mn-cs"/>
              </a:rPr>
              <a:t>    </a:t>
            </a:r>
            <a:endParaRPr lang="en-US" sz="2400" i="1">
              <a:solidFill>
                <a:schemeClr val="bg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0" y="6504801"/>
            <a:ext cx="2571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i="1" dirty="0" smtClean="0">
                <a:latin typeface="Arial" pitchFamily="34" charset="0"/>
                <a:cs typeface="Arial" pitchFamily="34" charset="0"/>
              </a:rPr>
              <a:t>Part Warehouse Bengkulu  </a:t>
            </a:r>
            <a:endParaRPr lang="en-US" sz="1200" i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/>
          <p:cNvGraphicFramePr/>
          <p:nvPr/>
        </p:nvGraphicFramePr>
        <p:xfrm>
          <a:off x="500034" y="1219200"/>
          <a:ext cx="8001056" cy="52721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itle 23"/>
          <p:cNvSpPr txBox="1">
            <a:spLocks/>
          </p:cNvSpPr>
          <p:nvPr/>
        </p:nvSpPr>
        <p:spPr>
          <a:xfrm>
            <a:off x="502920" y="518160"/>
            <a:ext cx="8183880" cy="7010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EBERAPA ISTILAH PROSES DIGUDANG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" name="Picture 5" descr="Logo-SATU-Indonesia-(All)---baru-(3)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6052" y="58250"/>
            <a:ext cx="905328" cy="45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C:\Users\louisi040697\AppData\Local\Microsoft\Windows\Temporary Internet Files\Content.Outlook\RD07AX3L\Logo Astra Motor Member of Astra (MD) (2).png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26289" y="57151"/>
            <a:ext cx="1854911" cy="381000"/>
          </a:xfrm>
          <a:prstGeom prst="rect">
            <a:avLst/>
          </a:prstGeom>
          <a:noFill/>
        </p:spPr>
      </p:pic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gradFill rotWithShape="1">
            <a:gsLst>
              <a:gs pos="0">
                <a:srgbClr val="000000"/>
              </a:gs>
              <a:gs pos="100000">
                <a:srgbClr val="FF0000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i="1">
                <a:solidFill>
                  <a:schemeClr val="bg1"/>
                </a:solidFill>
                <a:latin typeface="Calibri" pitchFamily="34" charset="0"/>
                <a:cs typeface="+mn-cs"/>
              </a:rPr>
              <a:t>    </a:t>
            </a:r>
            <a:endParaRPr lang="en-US" sz="2400" i="1">
              <a:solidFill>
                <a:schemeClr val="bg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6504801"/>
            <a:ext cx="2571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i="1" dirty="0" smtClean="0">
                <a:latin typeface="Arial" pitchFamily="34" charset="0"/>
                <a:cs typeface="Arial" pitchFamily="34" charset="0"/>
              </a:rPr>
              <a:t>Part Warehouse Bengkulu  </a:t>
            </a:r>
            <a:endParaRPr lang="en-US" sz="1200" i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Diagram 37"/>
          <p:cNvGraphicFramePr/>
          <p:nvPr/>
        </p:nvGraphicFramePr>
        <p:xfrm>
          <a:off x="762000" y="1524000"/>
          <a:ext cx="7696200" cy="4343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9" name="Title 23"/>
          <p:cNvSpPr txBox="1">
            <a:spLocks/>
          </p:cNvSpPr>
          <p:nvPr/>
        </p:nvSpPr>
        <p:spPr>
          <a:xfrm>
            <a:off x="502920" y="518160"/>
            <a:ext cx="8183880" cy="7010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LOW PROSES BARANG SIAP KIRIM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42" name="Picture 16" descr="Hasil gambar untuk warehouse admin icon"/>
          <p:cNvPicPr>
            <a:picLocks noChangeAspect="1" noChangeArrowheads="1"/>
          </p:cNvPicPr>
          <p:nvPr/>
        </p:nvPicPr>
        <p:blipFill>
          <a:blip r:embed="rId8" cstate="print"/>
          <a:srcRect l="26440" r="25967" b="57696"/>
          <a:stretch>
            <a:fillRect/>
          </a:stretch>
        </p:blipFill>
        <p:spPr bwMode="auto">
          <a:xfrm>
            <a:off x="838200" y="4572000"/>
            <a:ext cx="642942" cy="457200"/>
          </a:xfrm>
          <a:prstGeom prst="rect">
            <a:avLst/>
          </a:prstGeom>
          <a:noFill/>
        </p:spPr>
      </p:pic>
      <p:pic>
        <p:nvPicPr>
          <p:cNvPr id="43" name="Picture 16" descr="Hasil gambar untuk warehouse admin icon"/>
          <p:cNvPicPr>
            <a:picLocks noChangeAspect="1" noChangeArrowheads="1"/>
          </p:cNvPicPr>
          <p:nvPr/>
        </p:nvPicPr>
        <p:blipFill>
          <a:blip r:embed="rId8" cstate="print"/>
          <a:srcRect l="26440" r="25967" b="57696"/>
          <a:stretch>
            <a:fillRect/>
          </a:stretch>
        </p:blipFill>
        <p:spPr bwMode="auto">
          <a:xfrm>
            <a:off x="6291258" y="3124200"/>
            <a:ext cx="642942" cy="457200"/>
          </a:xfrm>
          <a:prstGeom prst="rect">
            <a:avLst/>
          </a:prstGeom>
          <a:noFill/>
        </p:spPr>
      </p:pic>
      <p:pic>
        <p:nvPicPr>
          <p:cNvPr id="44" name="Picture 16" descr="Hasil gambar untuk warehouse admin icon"/>
          <p:cNvPicPr>
            <a:picLocks noChangeAspect="1" noChangeArrowheads="1"/>
          </p:cNvPicPr>
          <p:nvPr/>
        </p:nvPicPr>
        <p:blipFill>
          <a:blip r:embed="rId8" cstate="print"/>
          <a:srcRect l="26440" r="25967" b="57696"/>
          <a:stretch>
            <a:fillRect/>
          </a:stretch>
        </p:blipFill>
        <p:spPr bwMode="auto">
          <a:xfrm>
            <a:off x="3548058" y="4572000"/>
            <a:ext cx="642942" cy="457200"/>
          </a:xfrm>
          <a:prstGeom prst="rect">
            <a:avLst/>
          </a:prstGeom>
          <a:noFill/>
        </p:spPr>
      </p:pic>
      <p:pic>
        <p:nvPicPr>
          <p:cNvPr id="37" name="Picture 6" descr="Gambar terkait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657600" y="3124200"/>
            <a:ext cx="457200" cy="381000"/>
          </a:xfrm>
          <a:prstGeom prst="rect">
            <a:avLst/>
          </a:prstGeom>
          <a:noFill/>
        </p:spPr>
      </p:pic>
      <p:pic>
        <p:nvPicPr>
          <p:cNvPr id="45" name="Picture 6" descr="Gambar terkait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400800" y="1600200"/>
            <a:ext cx="457200" cy="381000"/>
          </a:xfrm>
          <a:prstGeom prst="rect">
            <a:avLst/>
          </a:prstGeom>
          <a:noFill/>
        </p:spPr>
      </p:pic>
      <p:pic>
        <p:nvPicPr>
          <p:cNvPr id="46" name="Picture 6" descr="Gambar terkait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14400" y="3124200"/>
            <a:ext cx="457200" cy="381000"/>
          </a:xfrm>
          <a:prstGeom prst="rect">
            <a:avLst/>
          </a:prstGeom>
          <a:noFill/>
        </p:spPr>
      </p:pic>
      <p:pic>
        <p:nvPicPr>
          <p:cNvPr id="47" name="Picture 6" descr="Gambar terkait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14400" y="1600200"/>
            <a:ext cx="457200" cy="381000"/>
          </a:xfrm>
          <a:prstGeom prst="rect">
            <a:avLst/>
          </a:prstGeom>
          <a:noFill/>
        </p:spPr>
      </p:pic>
      <p:pic>
        <p:nvPicPr>
          <p:cNvPr id="48" name="Picture 6" descr="Gambar terkait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657600" y="1600200"/>
            <a:ext cx="457200" cy="381000"/>
          </a:xfrm>
          <a:prstGeom prst="rect">
            <a:avLst/>
          </a:prstGeom>
          <a:noFill/>
        </p:spPr>
      </p:pic>
      <p:grpSp>
        <p:nvGrpSpPr>
          <p:cNvPr id="49" name="Group 19"/>
          <p:cNvGrpSpPr>
            <a:grpSpLocks/>
          </p:cNvGrpSpPr>
          <p:nvPr/>
        </p:nvGrpSpPr>
        <p:grpSpPr bwMode="auto">
          <a:xfrm>
            <a:off x="6781526" y="4635499"/>
            <a:ext cx="1080820" cy="1308101"/>
            <a:chOff x="4947" y="1680"/>
            <a:chExt cx="680" cy="824"/>
          </a:xfrm>
        </p:grpSpPr>
        <p:graphicFrame>
          <p:nvGraphicFramePr>
            <p:cNvPr id="50" name="Object 20"/>
            <p:cNvGraphicFramePr>
              <a:graphicFrameLocks noChangeAspect="1"/>
            </p:cNvGraphicFramePr>
            <p:nvPr/>
          </p:nvGraphicFramePr>
          <p:xfrm>
            <a:off x="5038" y="1680"/>
            <a:ext cx="504" cy="582"/>
          </p:xfrm>
          <a:graphic>
            <a:graphicData uri="http://schemas.openxmlformats.org/presentationml/2006/ole">
              <p:oleObj spid="_x0000_s16386" name="Picture (32-bit)" r:id="rId10" imgW="800280" imgH="923760" progId="">
                <p:embed/>
              </p:oleObj>
            </a:graphicData>
          </a:graphic>
        </p:graphicFrame>
        <p:sp>
          <p:nvSpPr>
            <p:cNvPr id="51" name="Text Box 21"/>
            <p:cNvSpPr txBox="1">
              <a:spLocks noChangeArrowheads="1"/>
            </p:cNvSpPr>
            <p:nvPr/>
          </p:nvSpPr>
          <p:spPr bwMode="auto">
            <a:xfrm>
              <a:off x="4947" y="2291"/>
              <a:ext cx="680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id-ID" sz="1600" dirty="0" smtClean="0">
                  <a:solidFill>
                    <a:schemeClr val="bg1"/>
                  </a:solidFill>
                  <a:latin typeface="Tahoma" pitchFamily="34" charset="0"/>
                </a:rPr>
                <a:t>Distribusi </a:t>
              </a:r>
              <a:endParaRPr lang="en-US" sz="1600" dirty="0">
                <a:solidFill>
                  <a:schemeClr val="bg1"/>
                </a:solidFill>
                <a:latin typeface="Tahoma" pitchFamily="34" charset="0"/>
              </a:endParaRPr>
            </a:p>
          </p:txBody>
        </p:sp>
      </p:grpSp>
      <p:pic>
        <p:nvPicPr>
          <p:cNvPr id="16" name="Picture 15" descr="Logo-SATU-Indonesia-(All)---baru-(3)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6052" y="58250"/>
            <a:ext cx="905328" cy="45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 descr="C:\Users\louisi040697\AppData\Local\Microsoft\Windows\Temporary Internet Files\Content.Outlook\RD07AX3L\Logo Astra Motor Member of Astra (MD) (2).png"/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126289" y="57151"/>
            <a:ext cx="1854911" cy="381000"/>
          </a:xfrm>
          <a:prstGeom prst="rect">
            <a:avLst/>
          </a:prstGeom>
          <a:noFill/>
        </p:spPr>
      </p:pic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gradFill rotWithShape="1">
            <a:gsLst>
              <a:gs pos="0">
                <a:srgbClr val="000000"/>
              </a:gs>
              <a:gs pos="100000">
                <a:srgbClr val="FF0000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i="1">
                <a:solidFill>
                  <a:schemeClr val="bg1"/>
                </a:solidFill>
                <a:latin typeface="Calibri" pitchFamily="34" charset="0"/>
                <a:cs typeface="+mn-cs"/>
              </a:rPr>
              <a:t>    </a:t>
            </a:r>
            <a:endParaRPr lang="en-US" sz="2400" i="1">
              <a:solidFill>
                <a:schemeClr val="bg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6504801"/>
            <a:ext cx="2571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i="1" dirty="0" smtClean="0">
                <a:latin typeface="Arial" pitchFamily="34" charset="0"/>
                <a:cs typeface="Arial" pitchFamily="34" charset="0"/>
              </a:rPr>
              <a:t>Part Warehouse Bengkulu  </a:t>
            </a:r>
            <a:endParaRPr lang="en-US" sz="1200" i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5400000" scaled="0"/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Diagram 10"/>
          <p:cNvGraphicFramePr/>
          <p:nvPr/>
        </p:nvGraphicFramePr>
        <p:xfrm>
          <a:off x="857224" y="1219200"/>
          <a:ext cx="7715304" cy="48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itle 23"/>
          <p:cNvSpPr txBox="1">
            <a:spLocks/>
          </p:cNvSpPr>
          <p:nvPr/>
        </p:nvSpPr>
        <p:spPr>
          <a:xfrm>
            <a:off x="502920" y="457200"/>
            <a:ext cx="8183880" cy="7010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UNGSI SETIAP LOKASI PENYIMPANAN 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 descr="Logo-SATU-Indonesia-(All)---baru-(3)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6052" y="58250"/>
            <a:ext cx="905328" cy="45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C:\Users\louisi040697\AppData\Local\Microsoft\Windows\Temporary Internet Files\Content.Outlook\RD07AX3L\Logo Astra Motor Member of Astra (MD) (2).png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26289" y="57151"/>
            <a:ext cx="1854911" cy="381000"/>
          </a:xfrm>
          <a:prstGeom prst="rect">
            <a:avLst/>
          </a:prstGeom>
          <a:noFill/>
        </p:spPr>
      </p:pic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gradFill rotWithShape="1">
            <a:gsLst>
              <a:gs pos="0">
                <a:srgbClr val="000000"/>
              </a:gs>
              <a:gs pos="100000">
                <a:srgbClr val="FF0000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i="1">
                <a:solidFill>
                  <a:schemeClr val="bg1"/>
                </a:solidFill>
                <a:latin typeface="Calibri" pitchFamily="34" charset="0"/>
                <a:cs typeface="+mn-cs"/>
              </a:rPr>
              <a:t>    </a:t>
            </a:r>
            <a:endParaRPr lang="en-US" sz="2400" i="1">
              <a:solidFill>
                <a:schemeClr val="bg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6504801"/>
            <a:ext cx="2571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i="1" dirty="0" smtClean="0">
                <a:latin typeface="Arial" pitchFamily="34" charset="0"/>
                <a:cs typeface="Arial" pitchFamily="34" charset="0"/>
              </a:rPr>
              <a:t>Part Warehouse Bengkulu  </a:t>
            </a:r>
            <a:endParaRPr lang="en-US" sz="1200" i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Diagram 18"/>
          <p:cNvGraphicFramePr/>
          <p:nvPr/>
        </p:nvGraphicFramePr>
        <p:xfrm>
          <a:off x="838200" y="1397000"/>
          <a:ext cx="7315200" cy="4394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1" name="Title 23"/>
          <p:cNvSpPr txBox="1">
            <a:spLocks/>
          </p:cNvSpPr>
          <p:nvPr/>
        </p:nvSpPr>
        <p:spPr>
          <a:xfrm>
            <a:off x="502920" y="457200"/>
            <a:ext cx="8183880" cy="7010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STILAH-ISTILAH ORDERAN KE AHM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 descr="Logo-SATU-Indonesia-(All)---baru-(3)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6052" y="58250"/>
            <a:ext cx="905328" cy="45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C:\Users\louisi040697\AppData\Local\Microsoft\Windows\Temporary Internet Files\Content.Outlook\RD07AX3L\Logo Astra Motor Member of Astra (MD) (2).png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26289" y="57151"/>
            <a:ext cx="1854911" cy="381000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gradFill rotWithShape="1">
            <a:gsLst>
              <a:gs pos="0">
                <a:srgbClr val="000000"/>
              </a:gs>
              <a:gs pos="100000">
                <a:srgbClr val="FF0000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i="1">
                <a:solidFill>
                  <a:schemeClr val="bg1"/>
                </a:solidFill>
                <a:latin typeface="Calibri" pitchFamily="34" charset="0"/>
                <a:cs typeface="+mn-cs"/>
              </a:rPr>
              <a:t>    </a:t>
            </a:r>
            <a:endParaRPr lang="en-US" sz="2400" i="1">
              <a:solidFill>
                <a:schemeClr val="bg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6504801"/>
            <a:ext cx="2571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i="1" dirty="0" smtClean="0">
                <a:latin typeface="Arial" pitchFamily="34" charset="0"/>
                <a:cs typeface="Arial" pitchFamily="34" charset="0"/>
              </a:rPr>
              <a:t>Part Warehouse Bengkulu  </a:t>
            </a:r>
            <a:endParaRPr lang="en-US" sz="1200" i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895600" y="2286000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None/>
            </a:pPr>
            <a:endParaRPr lang="en-ID" dirty="0">
              <a:sym typeface="Wingdings" pitchFamily="2" charset="2"/>
            </a:endParaRPr>
          </a:p>
          <a:p>
            <a:pPr>
              <a:buNone/>
            </a:pPr>
            <a:endParaRPr lang="en-ID" dirty="0" smtClean="0">
              <a:sym typeface="Wingdings" pitchFamily="2" charset="2"/>
            </a:endParaRPr>
          </a:p>
        </p:txBody>
      </p:sp>
      <p:graphicFrame>
        <p:nvGraphicFramePr>
          <p:cNvPr id="6" name="Diagram 5"/>
          <p:cNvGraphicFramePr/>
          <p:nvPr/>
        </p:nvGraphicFramePr>
        <p:xfrm>
          <a:off x="1600200" y="1524000"/>
          <a:ext cx="5791200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itle 23"/>
          <p:cNvSpPr txBox="1">
            <a:spLocks/>
          </p:cNvSpPr>
          <p:nvPr/>
        </p:nvSpPr>
        <p:spPr>
          <a:xfrm>
            <a:off x="502920" y="457200"/>
            <a:ext cx="8183880" cy="7010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KRETERIA RANK SPARE PART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9" name="Picture 8" descr="Logo-SATU-Indonesia-(All)---baru-(3)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6052" y="58250"/>
            <a:ext cx="905328" cy="45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C:\Users\louisi040697\AppData\Local\Microsoft\Windows\Temporary Internet Files\Content.Outlook\RD07AX3L\Logo Astra Motor Member of Astra (MD) (2).png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26289" y="57151"/>
            <a:ext cx="1854911" cy="381000"/>
          </a:xfrm>
          <a:prstGeom prst="rect">
            <a:avLst/>
          </a:prstGeom>
          <a:noFill/>
        </p:spPr>
      </p:pic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gradFill rotWithShape="1">
            <a:gsLst>
              <a:gs pos="0">
                <a:srgbClr val="000000"/>
              </a:gs>
              <a:gs pos="100000">
                <a:srgbClr val="FF0000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i="1">
                <a:solidFill>
                  <a:schemeClr val="bg1"/>
                </a:solidFill>
                <a:latin typeface="Calibri" pitchFamily="34" charset="0"/>
                <a:cs typeface="+mn-cs"/>
              </a:rPr>
              <a:t>    </a:t>
            </a:r>
            <a:endParaRPr lang="en-US" sz="2400" i="1">
              <a:solidFill>
                <a:schemeClr val="bg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0" y="6504801"/>
            <a:ext cx="2571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i="1" dirty="0" smtClean="0">
                <a:latin typeface="Arial" pitchFamily="34" charset="0"/>
                <a:cs typeface="Arial" pitchFamily="34" charset="0"/>
              </a:rPr>
              <a:t>Part Warehouse Bengkulu  </a:t>
            </a:r>
            <a:endParaRPr lang="en-US" sz="1200" i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3"/>
          <p:cNvSpPr txBox="1">
            <a:spLocks/>
          </p:cNvSpPr>
          <p:nvPr/>
        </p:nvSpPr>
        <p:spPr>
          <a:xfrm>
            <a:off x="502920" y="533400"/>
            <a:ext cx="8183880" cy="1295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KIAT YANG PERLU DILAKUKAN AGAR STOK TIDAK SELISIH 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4" name="Picture 3" descr="Logo-SATU-Indonesia-(All)---baru-(3)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6052" y="58250"/>
            <a:ext cx="905328" cy="45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C:\Users\louisi040697\AppData\Local\Microsoft\Windows\Temporary Internet Files\Content.Outlook\RD07AX3L\Logo Astra Motor Member of Astra (MD) (2)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126289" y="57151"/>
            <a:ext cx="1854911" cy="381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685800" y="1828800"/>
            <a:ext cx="7772400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2880" tIns="91440" rIns="91440" bIns="45720" numCol="1" anchor="t" anchorCtr="0" compatLnSpc="1">
            <a:prstTxWarp prst="textNoShape">
              <a:avLst/>
            </a:prstTxWarp>
          </a:bodyPr>
          <a:lstStyle/>
          <a:p>
            <a:pPr marL="265113" marR="0" lvl="0" indent="-265113" algn="l" defTabSz="914400" rtl="0" eaLnBrk="0" fontAlgn="base" latinLnBrk="0" hangingPunct="0">
              <a:lnSpc>
                <a:spcPct val="100000"/>
              </a:lnSpc>
              <a:spcBef>
                <a:spcPts val="25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Char char=""/>
              <a:tabLst/>
              <a:defRPr/>
            </a:pPr>
            <a:r>
              <a:rPr kumimoji="0" lang="id-ID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Melakukan</a:t>
            </a:r>
            <a:r>
              <a:rPr kumimoji="0" lang="id-ID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 Sampling Berkala</a:t>
            </a:r>
            <a:endParaRPr kumimoji="0" lang="id-ID" sz="2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65113" marR="0" lvl="0" indent="-265113" algn="l" defTabSz="914400" rtl="0" eaLnBrk="0" fontAlgn="base" latinLnBrk="0" hangingPunct="0">
              <a:lnSpc>
                <a:spcPct val="100000"/>
              </a:lnSpc>
              <a:spcBef>
                <a:spcPts val="25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Char char=""/>
              <a:tabLst/>
              <a:defRPr/>
            </a:pPr>
            <a:r>
              <a:rPr lang="id-ID" sz="2800" dirty="0" smtClean="0">
                <a:solidFill>
                  <a:schemeClr val="bg1"/>
                </a:solidFill>
              </a:rPr>
              <a:t>Menimalisir Part Multi Lokasi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65113" marR="0" lvl="0" indent="-265113" algn="l" defTabSz="914400" rtl="0" eaLnBrk="0" fontAlgn="base" latinLnBrk="0" hangingPunct="0">
              <a:lnSpc>
                <a:spcPct val="100000"/>
              </a:lnSpc>
              <a:spcBef>
                <a:spcPts val="25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Char char=""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nitoring Warehouse (LL01) </a:t>
            </a:r>
            <a:endParaRPr kumimoji="0" lang="id-ID" sz="2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65113" marR="0" lvl="0" indent="-265113" algn="l" defTabSz="914400" rtl="0" eaLnBrk="0" fontAlgn="base" latinLnBrk="0" hangingPunct="0">
              <a:lnSpc>
                <a:spcPct val="100000"/>
              </a:lnSpc>
              <a:spcBef>
                <a:spcPts val="25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Char char=""/>
              <a:tabLst/>
              <a:defRPr/>
            </a:pPr>
            <a:r>
              <a:rPr kumimoji="0" lang="id-ID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Gunakan</a:t>
            </a:r>
            <a:r>
              <a:rPr kumimoji="0" lang="id-ID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 Kartu Stock</a:t>
            </a:r>
          </a:p>
          <a:p>
            <a:pPr marL="265113" indent="-265113" eaLnBrk="0" fontAlgn="base" hangingPunct="0">
              <a:spcBef>
                <a:spcPts val="25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Char char=""/>
              <a:defRPr/>
            </a:pPr>
            <a:r>
              <a:rPr lang="id-ID" sz="2800" dirty="0" smtClean="0">
                <a:solidFill>
                  <a:schemeClr val="bg1"/>
                </a:solidFill>
              </a:rPr>
              <a:t>Pasti Semua Part Sudah GR dari MD (Jika Belum Segera Follow Up)</a:t>
            </a:r>
          </a:p>
          <a:p>
            <a:pPr marL="265113" marR="0" lvl="0" indent="-265113" algn="l" defTabSz="914400" rtl="0" eaLnBrk="0" fontAlgn="base" latinLnBrk="0" hangingPunct="0">
              <a:lnSpc>
                <a:spcPct val="100000"/>
              </a:lnSpc>
              <a:spcBef>
                <a:spcPts val="25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Char char="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gradFill rotWithShape="1">
            <a:gsLst>
              <a:gs pos="0">
                <a:srgbClr val="000000"/>
              </a:gs>
              <a:gs pos="100000">
                <a:srgbClr val="FF0000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i="1">
                <a:solidFill>
                  <a:schemeClr val="bg1"/>
                </a:solidFill>
                <a:latin typeface="Calibri" pitchFamily="34" charset="0"/>
                <a:cs typeface="+mn-cs"/>
              </a:rPr>
              <a:t>    </a:t>
            </a:r>
            <a:endParaRPr lang="en-US" sz="2400" i="1">
              <a:solidFill>
                <a:schemeClr val="bg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6504801"/>
            <a:ext cx="2571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i="1" dirty="0" smtClean="0">
                <a:latin typeface="Arial" pitchFamily="34" charset="0"/>
                <a:cs typeface="Arial" pitchFamily="34" charset="0"/>
              </a:rPr>
              <a:t>Part Warehouse Bengkulu  </a:t>
            </a:r>
            <a:endParaRPr lang="en-US" sz="1200" i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jD9BvPvUKXXBb75G4O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KVbKX4ESf7ubLEK_l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KVbKX4ESf7ubLEK_l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KVbKX4ESf7ubLEK_l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pxBkG3HEGiys_gP7wX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KVbKX4ESf7ubLEK_l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KVbKX4ESf7ubLEK_l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KVbKX4ESf7ubLEK_l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KVbKX4ESf7ubLEK_l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KVbKX4ESf7ubLEK_l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KVbKX4ESf7ubLEK_l7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7</TotalTime>
  <Words>468</Words>
  <Application>Microsoft Office PowerPoint</Application>
  <PresentationFormat>On-screen Show (4:3)</PresentationFormat>
  <Paragraphs>111</Paragraphs>
  <Slides>1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Picture (32-bit)</vt:lpstr>
      <vt:lpstr>Slide 1</vt:lpstr>
      <vt:lpstr>RANTAI DISTRIBUSI HGP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</vt:vector>
  </TitlesOfParts>
  <Company>Astra International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st materi</dc:title>
  <dc:creator>khairu060944</dc:creator>
  <cp:lastModifiedBy>hp</cp:lastModifiedBy>
  <cp:revision>102</cp:revision>
  <dcterms:created xsi:type="dcterms:W3CDTF">2019-03-31T02:50:05Z</dcterms:created>
  <dcterms:modified xsi:type="dcterms:W3CDTF">2021-11-19T06:30:12Z</dcterms:modified>
</cp:coreProperties>
</file>